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30" r:id="rId2"/>
    <p:sldMasterId id="2147483671" r:id="rId3"/>
    <p:sldMasterId id="2147483741" r:id="rId4"/>
  </p:sldMasterIdLst>
  <p:notesMasterIdLst>
    <p:notesMasterId r:id="rId69"/>
  </p:notesMasterIdLst>
  <p:handoutMasterIdLst>
    <p:handoutMasterId r:id="rId70"/>
  </p:handoutMasterIdLst>
  <p:sldIdLst>
    <p:sldId id="256" r:id="rId5"/>
    <p:sldId id="258" r:id="rId6"/>
    <p:sldId id="259" r:id="rId7"/>
    <p:sldId id="260" r:id="rId8"/>
    <p:sldId id="263" r:id="rId9"/>
    <p:sldId id="264" r:id="rId10"/>
    <p:sldId id="265" r:id="rId11"/>
    <p:sldId id="286" r:id="rId12"/>
    <p:sldId id="266" r:id="rId13"/>
    <p:sldId id="296" r:id="rId14"/>
    <p:sldId id="287" r:id="rId15"/>
    <p:sldId id="321" r:id="rId16"/>
    <p:sldId id="323" r:id="rId17"/>
    <p:sldId id="324" r:id="rId18"/>
    <p:sldId id="325" r:id="rId19"/>
    <p:sldId id="326" r:id="rId20"/>
    <p:sldId id="327" r:id="rId21"/>
    <p:sldId id="328" r:id="rId22"/>
    <p:sldId id="329" r:id="rId23"/>
    <p:sldId id="330" r:id="rId24"/>
    <p:sldId id="342" r:id="rId25"/>
    <p:sldId id="343" r:id="rId26"/>
    <p:sldId id="344" r:id="rId27"/>
    <p:sldId id="345" r:id="rId28"/>
    <p:sldId id="346" r:id="rId29"/>
    <p:sldId id="347" r:id="rId30"/>
    <p:sldId id="348" r:id="rId31"/>
    <p:sldId id="349" r:id="rId32"/>
    <p:sldId id="294" r:id="rId33"/>
    <p:sldId id="289" r:id="rId34"/>
    <p:sldId id="290" r:id="rId35"/>
    <p:sldId id="291" r:id="rId36"/>
    <p:sldId id="292" r:id="rId37"/>
    <p:sldId id="293" r:id="rId38"/>
    <p:sldId id="306" r:id="rId39"/>
    <p:sldId id="308" r:id="rId40"/>
    <p:sldId id="309" r:id="rId41"/>
    <p:sldId id="310" r:id="rId42"/>
    <p:sldId id="311" r:id="rId43"/>
    <p:sldId id="312" r:id="rId44"/>
    <p:sldId id="313" r:id="rId45"/>
    <p:sldId id="320" r:id="rId46"/>
    <p:sldId id="314" r:id="rId47"/>
    <p:sldId id="315" r:id="rId48"/>
    <p:sldId id="316" r:id="rId49"/>
    <p:sldId id="317" r:id="rId50"/>
    <p:sldId id="318" r:id="rId51"/>
    <p:sldId id="351" r:id="rId52"/>
    <p:sldId id="352" r:id="rId53"/>
    <p:sldId id="353" r:id="rId54"/>
    <p:sldId id="354" r:id="rId55"/>
    <p:sldId id="355" r:id="rId56"/>
    <p:sldId id="356" r:id="rId57"/>
    <p:sldId id="357" r:id="rId58"/>
    <p:sldId id="358" r:id="rId59"/>
    <p:sldId id="359" r:id="rId60"/>
    <p:sldId id="360" r:id="rId61"/>
    <p:sldId id="361" r:id="rId62"/>
    <p:sldId id="362" r:id="rId63"/>
    <p:sldId id="363" r:id="rId64"/>
    <p:sldId id="364" r:id="rId65"/>
    <p:sldId id="365" r:id="rId66"/>
    <p:sldId id="366" r:id="rId67"/>
    <p:sldId id="340" r:id="rId68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256"/>
            <p14:sldId id="258"/>
            <p14:sldId id="259"/>
            <p14:sldId id="260"/>
            <p14:sldId id="263"/>
            <p14:sldId id="264"/>
            <p14:sldId id="265"/>
            <p14:sldId id="286"/>
            <p14:sldId id="266"/>
            <p14:sldId id="296"/>
            <p14:sldId id="287"/>
            <p14:sldId id="321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294"/>
            <p14:sldId id="289"/>
            <p14:sldId id="290"/>
            <p14:sldId id="291"/>
            <p14:sldId id="292"/>
            <p14:sldId id="293"/>
            <p14:sldId id="306"/>
            <p14:sldId id="308"/>
            <p14:sldId id="309"/>
            <p14:sldId id="310"/>
            <p14:sldId id="311"/>
            <p14:sldId id="312"/>
            <p14:sldId id="313"/>
            <p14:sldId id="320"/>
            <p14:sldId id="314"/>
            <p14:sldId id="315"/>
            <p14:sldId id="316"/>
            <p14:sldId id="317"/>
            <p14:sldId id="318"/>
            <p14:sldId id="351"/>
            <p14:sldId id="352"/>
            <p14:sldId id="353"/>
            <p14:sldId id="354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40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s, Jessica" initials="PJ" lastIdx="1" clrIdx="0">
    <p:extLst/>
  </p:cmAuthor>
  <p:cmAuthor id="2" name="Kagithapu Lokanadha, Sai Krishna" initials="KLSK" lastIdx="1" clrIdx="1">
    <p:extLst>
      <p:ext uri="{19B8F6BF-5375-455C-9EA6-DF929625EA0E}">
        <p15:presenceInfo xmlns="" xmlns:p15="http://schemas.microsoft.com/office/powerpoint/2012/main" userId="S-1-5-21-1531082355-734649621-3782574898-30036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5E616"/>
    <a:srgbClr val="95E816"/>
    <a:srgbClr val="FFECAF"/>
    <a:srgbClr val="FECC26"/>
    <a:srgbClr val="0098CC"/>
    <a:srgbClr val="74B230"/>
    <a:srgbClr val="F3FCE4"/>
    <a:srgbClr val="FFD1D8"/>
    <a:srgbClr val="FF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15" autoAdjust="0"/>
    <p:restoredTop sz="98535" autoAdjust="0"/>
  </p:normalViewPr>
  <p:slideViewPr>
    <p:cSldViewPr>
      <p:cViewPr>
        <p:scale>
          <a:sx n="72" d="100"/>
          <a:sy n="72" d="100"/>
        </p:scale>
        <p:origin x="-738" y="-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" Type="http://schemas.openxmlformats.org/officeDocument/2006/relationships/slide" Target="slides/slide3.xml"/><Relationship Id="rId71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viewProps" Target="viewProp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89426A-5260-40E6-8115-ACCCDD54440D}" type="doc">
      <dgm:prSet loTypeId="urn:microsoft.com/office/officeart/2005/8/layout/radial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34ED455-8D5E-4D30-9193-FC0104F126C2}">
      <dgm:prSet phldrT="[Text]"/>
      <dgm:spPr/>
      <dgm:t>
        <a:bodyPr/>
        <a:lstStyle/>
        <a:p>
          <a:r>
            <a:rPr lang="en-US" dirty="0" smtClean="0"/>
            <a:t>Linux</a:t>
          </a:r>
          <a:endParaRPr lang="en-US" dirty="0"/>
        </a:p>
      </dgm:t>
    </dgm:pt>
    <dgm:pt modelId="{767C9D20-A977-478A-8E57-801CA4993677}" type="parTrans" cxnId="{2F421ED9-C0E8-42E4-A0FD-588397A7770E}">
      <dgm:prSet/>
      <dgm:spPr/>
      <dgm:t>
        <a:bodyPr/>
        <a:lstStyle/>
        <a:p>
          <a:endParaRPr lang="en-US"/>
        </a:p>
      </dgm:t>
    </dgm:pt>
    <dgm:pt modelId="{2BA8ADF3-CB38-4133-8DCC-6EF5D09E5862}" type="sibTrans" cxnId="{2F421ED9-C0E8-42E4-A0FD-588397A7770E}">
      <dgm:prSet/>
      <dgm:spPr/>
      <dgm:t>
        <a:bodyPr/>
        <a:lstStyle/>
        <a:p>
          <a:endParaRPr lang="en-US"/>
        </a:p>
      </dgm:t>
    </dgm:pt>
    <dgm:pt modelId="{53A4B96A-F180-4B49-AFD2-94DB7FFB9C9B}">
      <dgm:prSet phldrT="[Text]"/>
      <dgm:spPr/>
      <dgm:t>
        <a:bodyPr/>
        <a:lstStyle/>
        <a:p>
          <a:r>
            <a:rPr lang="en-US" dirty="0" smtClean="0"/>
            <a:t>OS Services</a:t>
          </a:r>
          <a:endParaRPr lang="en-US" dirty="0"/>
        </a:p>
      </dgm:t>
    </dgm:pt>
    <dgm:pt modelId="{DCADD2B7-3928-46C5-A104-E5AC6CA3A77B}" type="parTrans" cxnId="{AB9B6A7C-7F89-4175-99D4-607B769E41B2}">
      <dgm:prSet/>
      <dgm:spPr/>
      <dgm:t>
        <a:bodyPr/>
        <a:lstStyle/>
        <a:p>
          <a:endParaRPr lang="en-US" dirty="0"/>
        </a:p>
      </dgm:t>
    </dgm:pt>
    <dgm:pt modelId="{35308576-4DC1-4E93-85EF-19784D39007C}" type="sibTrans" cxnId="{AB9B6A7C-7F89-4175-99D4-607B769E41B2}">
      <dgm:prSet/>
      <dgm:spPr/>
      <dgm:t>
        <a:bodyPr/>
        <a:lstStyle/>
        <a:p>
          <a:endParaRPr lang="en-US"/>
        </a:p>
      </dgm:t>
    </dgm:pt>
    <dgm:pt modelId="{72011C4C-F70C-4059-8361-9E634F17734A}">
      <dgm:prSet phldrT="[Text]"/>
      <dgm:spPr/>
      <dgm:t>
        <a:bodyPr/>
        <a:lstStyle/>
        <a:p>
          <a:r>
            <a:rPr lang="en-US" dirty="0" smtClean="0"/>
            <a:t>USER Application</a:t>
          </a:r>
          <a:endParaRPr lang="en-US" dirty="0"/>
        </a:p>
      </dgm:t>
    </dgm:pt>
    <dgm:pt modelId="{1799EB3C-DA19-44D4-A1E6-0FA32951E24B}" type="parTrans" cxnId="{EC9EDB6F-9714-4AD4-89DD-EBCD38F0799A}">
      <dgm:prSet/>
      <dgm:spPr/>
      <dgm:t>
        <a:bodyPr/>
        <a:lstStyle/>
        <a:p>
          <a:endParaRPr lang="en-US" dirty="0"/>
        </a:p>
      </dgm:t>
    </dgm:pt>
    <dgm:pt modelId="{52D72FE8-8245-4A6D-9F66-8592CB16B39E}" type="sibTrans" cxnId="{EC9EDB6F-9714-4AD4-89DD-EBCD38F0799A}">
      <dgm:prSet/>
      <dgm:spPr/>
      <dgm:t>
        <a:bodyPr/>
        <a:lstStyle/>
        <a:p>
          <a:endParaRPr lang="en-US"/>
        </a:p>
      </dgm:t>
    </dgm:pt>
    <dgm:pt modelId="{17AB8A0D-C441-4F75-AC89-50AE7EAA3799}">
      <dgm:prSet phldrT="[Text]"/>
      <dgm:spPr/>
      <dgm:t>
        <a:bodyPr/>
        <a:lstStyle/>
        <a:p>
          <a:r>
            <a:rPr lang="en-US" dirty="0" smtClean="0"/>
            <a:t>Linux Kernel </a:t>
          </a:r>
          <a:endParaRPr lang="en-US" dirty="0"/>
        </a:p>
      </dgm:t>
    </dgm:pt>
    <dgm:pt modelId="{62481817-F739-4E66-BB27-C744FDBC2D6D}" type="parTrans" cxnId="{A103B6EC-636B-4DB3-BDAE-A37EED4D98AB}">
      <dgm:prSet/>
      <dgm:spPr/>
      <dgm:t>
        <a:bodyPr/>
        <a:lstStyle/>
        <a:p>
          <a:endParaRPr lang="en-US" dirty="0"/>
        </a:p>
      </dgm:t>
    </dgm:pt>
    <dgm:pt modelId="{00344C43-2183-4465-9361-229AC62FD053}" type="sibTrans" cxnId="{A103B6EC-636B-4DB3-BDAE-A37EED4D98AB}">
      <dgm:prSet/>
      <dgm:spPr/>
      <dgm:t>
        <a:bodyPr/>
        <a:lstStyle/>
        <a:p>
          <a:endParaRPr lang="en-US"/>
        </a:p>
      </dgm:t>
    </dgm:pt>
    <dgm:pt modelId="{5826C839-AEB4-425B-AD34-DCDCB995AE86}">
      <dgm:prSet phldrT="[Text]"/>
      <dgm:spPr/>
      <dgm:t>
        <a:bodyPr/>
        <a:lstStyle/>
        <a:p>
          <a:r>
            <a:rPr lang="en-US" dirty="0" smtClean="0"/>
            <a:t>Hardware Controller</a:t>
          </a:r>
          <a:endParaRPr lang="en-US" dirty="0"/>
        </a:p>
      </dgm:t>
    </dgm:pt>
    <dgm:pt modelId="{54319978-9014-4D45-B48F-6EC33E288897}" type="parTrans" cxnId="{0C0A0CFD-1EFC-4E72-896B-2665B4BEB5AA}">
      <dgm:prSet/>
      <dgm:spPr/>
      <dgm:t>
        <a:bodyPr/>
        <a:lstStyle/>
        <a:p>
          <a:endParaRPr lang="en-US" dirty="0"/>
        </a:p>
      </dgm:t>
    </dgm:pt>
    <dgm:pt modelId="{05B858DB-8492-4B53-8152-E5E896B20DE5}" type="sibTrans" cxnId="{0C0A0CFD-1EFC-4E72-896B-2665B4BEB5AA}">
      <dgm:prSet/>
      <dgm:spPr/>
      <dgm:t>
        <a:bodyPr/>
        <a:lstStyle/>
        <a:p>
          <a:endParaRPr lang="en-US"/>
        </a:p>
      </dgm:t>
    </dgm:pt>
    <dgm:pt modelId="{8A849E06-0B50-4AC8-8281-E3B6D47953A2}" type="pres">
      <dgm:prSet presAssocID="{E789426A-5260-40E6-8115-ACCCDD54440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785FAB-08E8-4433-97CB-3DACD2EB519D}" type="pres">
      <dgm:prSet presAssocID="{334ED455-8D5E-4D30-9193-FC0104F126C2}" presName="centerShape" presStyleLbl="node0" presStyleIdx="0" presStyleCnt="1" custScaleX="109132" custScaleY="121457"/>
      <dgm:spPr/>
      <dgm:t>
        <a:bodyPr/>
        <a:lstStyle/>
        <a:p>
          <a:endParaRPr lang="en-US"/>
        </a:p>
      </dgm:t>
    </dgm:pt>
    <dgm:pt modelId="{60413264-A758-4ED8-9205-058B092C5516}" type="pres">
      <dgm:prSet presAssocID="{DCADD2B7-3928-46C5-A104-E5AC6CA3A77B}" presName="parTrans" presStyleLbl="sibTrans2D1" presStyleIdx="0" presStyleCnt="4"/>
      <dgm:spPr/>
      <dgm:t>
        <a:bodyPr/>
        <a:lstStyle/>
        <a:p>
          <a:endParaRPr lang="en-US"/>
        </a:p>
      </dgm:t>
    </dgm:pt>
    <dgm:pt modelId="{13C296FA-3601-4EBD-87AD-1921D9B05F49}" type="pres">
      <dgm:prSet presAssocID="{DCADD2B7-3928-46C5-A104-E5AC6CA3A77B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A8B3F084-C609-41DF-B7A5-B3D696D8E9F8}" type="pres">
      <dgm:prSet presAssocID="{53A4B96A-F180-4B49-AFD2-94DB7FFB9C9B}" presName="node" presStyleLbl="node1" presStyleIdx="0" presStyleCnt="4" custScaleX="126890" custScaleY="1110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6C9F3-8D91-4C6C-A11D-3D346290ACE1}" type="pres">
      <dgm:prSet presAssocID="{1799EB3C-DA19-44D4-A1E6-0FA32951E24B}" presName="parTrans" presStyleLbl="sibTrans2D1" presStyleIdx="1" presStyleCnt="4"/>
      <dgm:spPr/>
      <dgm:t>
        <a:bodyPr/>
        <a:lstStyle/>
        <a:p>
          <a:endParaRPr lang="en-US"/>
        </a:p>
      </dgm:t>
    </dgm:pt>
    <dgm:pt modelId="{2611BBFA-0640-43D6-A7CD-6D8759B40B2D}" type="pres">
      <dgm:prSet presAssocID="{1799EB3C-DA19-44D4-A1E6-0FA32951E24B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1C81B57A-A34B-4DC2-BF49-77828593C166}" type="pres">
      <dgm:prSet presAssocID="{72011C4C-F70C-4059-8361-9E634F17734A}" presName="node" presStyleLbl="node1" presStyleIdx="1" presStyleCnt="4" custScaleX="135515" custScaleY="121457" custRadScaleRad="122568" custRadScaleInc="1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E43BE-98E9-4AE5-A36E-C4F98A061C56}" type="pres">
      <dgm:prSet presAssocID="{62481817-F739-4E66-BB27-C744FDBC2D6D}" presName="parTrans" presStyleLbl="sibTrans2D1" presStyleIdx="2" presStyleCnt="4"/>
      <dgm:spPr/>
      <dgm:t>
        <a:bodyPr/>
        <a:lstStyle/>
        <a:p>
          <a:endParaRPr lang="en-US"/>
        </a:p>
      </dgm:t>
    </dgm:pt>
    <dgm:pt modelId="{C046D02B-D7EA-421B-9B7D-1DDB3484F2BF}" type="pres">
      <dgm:prSet presAssocID="{62481817-F739-4E66-BB27-C744FDBC2D6D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6D790799-C1A6-4912-A471-85393B0ED93D}" type="pres">
      <dgm:prSet presAssocID="{17AB8A0D-C441-4F75-AC89-50AE7EAA3799}" presName="node" presStyleLbl="node1" presStyleIdx="2" presStyleCnt="4" custScaleX="120574" custScaleY="107732" custRadScaleRad="116720" custRadScaleInc="-26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15B3A4-12E2-481B-BE90-498DFD692BAD}" type="pres">
      <dgm:prSet presAssocID="{54319978-9014-4D45-B48F-6EC33E288897}" presName="parTrans" presStyleLbl="sibTrans2D1" presStyleIdx="3" presStyleCnt="4"/>
      <dgm:spPr/>
      <dgm:t>
        <a:bodyPr/>
        <a:lstStyle/>
        <a:p>
          <a:endParaRPr lang="en-US"/>
        </a:p>
      </dgm:t>
    </dgm:pt>
    <dgm:pt modelId="{D5A6DA9D-BFE4-40C1-B134-4858F3585E5A}" type="pres">
      <dgm:prSet presAssocID="{54319978-9014-4D45-B48F-6EC33E2888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325D8EB-F374-45FF-B488-BDF1EC5AC75D}" type="pres">
      <dgm:prSet presAssocID="{5826C839-AEB4-425B-AD34-DCDCB995AE86}" presName="node" presStyleLbl="node1" presStyleIdx="3" presStyleCnt="4" custScaleX="142832" custScaleY="121457" custRadScaleRad="116410" custRadScaleInc="-12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C587864-12A2-488C-BC50-6E7887D9C39F}" type="presOf" srcId="{5826C839-AEB4-425B-AD34-DCDCB995AE86}" destId="{9325D8EB-F374-45FF-B488-BDF1EC5AC75D}" srcOrd="0" destOrd="0" presId="urn:microsoft.com/office/officeart/2005/8/layout/radial5"/>
    <dgm:cxn modelId="{0C0A0CFD-1EFC-4E72-896B-2665B4BEB5AA}" srcId="{334ED455-8D5E-4D30-9193-FC0104F126C2}" destId="{5826C839-AEB4-425B-AD34-DCDCB995AE86}" srcOrd="3" destOrd="0" parTransId="{54319978-9014-4D45-B48F-6EC33E288897}" sibTransId="{05B858DB-8492-4B53-8152-E5E896B20DE5}"/>
    <dgm:cxn modelId="{2F421ED9-C0E8-42E4-A0FD-588397A7770E}" srcId="{E789426A-5260-40E6-8115-ACCCDD54440D}" destId="{334ED455-8D5E-4D30-9193-FC0104F126C2}" srcOrd="0" destOrd="0" parTransId="{767C9D20-A977-478A-8E57-801CA4993677}" sibTransId="{2BA8ADF3-CB38-4133-8DCC-6EF5D09E5862}"/>
    <dgm:cxn modelId="{375B46DF-B308-4024-97C8-526A1F8D0D73}" type="presOf" srcId="{62481817-F739-4E66-BB27-C744FDBC2D6D}" destId="{C046D02B-D7EA-421B-9B7D-1DDB3484F2BF}" srcOrd="1" destOrd="0" presId="urn:microsoft.com/office/officeart/2005/8/layout/radial5"/>
    <dgm:cxn modelId="{76848582-0F85-4DF7-922A-931406B2EDE5}" type="presOf" srcId="{72011C4C-F70C-4059-8361-9E634F17734A}" destId="{1C81B57A-A34B-4DC2-BF49-77828593C166}" srcOrd="0" destOrd="0" presId="urn:microsoft.com/office/officeart/2005/8/layout/radial5"/>
    <dgm:cxn modelId="{EC9EDB6F-9714-4AD4-89DD-EBCD38F0799A}" srcId="{334ED455-8D5E-4D30-9193-FC0104F126C2}" destId="{72011C4C-F70C-4059-8361-9E634F17734A}" srcOrd="1" destOrd="0" parTransId="{1799EB3C-DA19-44D4-A1E6-0FA32951E24B}" sibTransId="{52D72FE8-8245-4A6D-9F66-8592CB16B39E}"/>
    <dgm:cxn modelId="{E731E8E8-6A1B-46AB-B944-2EE9295FE585}" type="presOf" srcId="{DCADD2B7-3928-46C5-A104-E5AC6CA3A77B}" destId="{60413264-A758-4ED8-9205-058B092C5516}" srcOrd="0" destOrd="0" presId="urn:microsoft.com/office/officeart/2005/8/layout/radial5"/>
    <dgm:cxn modelId="{FC57060C-1D14-4FBE-A7A9-557F7D3A6D57}" type="presOf" srcId="{17AB8A0D-C441-4F75-AC89-50AE7EAA3799}" destId="{6D790799-C1A6-4912-A471-85393B0ED93D}" srcOrd="0" destOrd="0" presId="urn:microsoft.com/office/officeart/2005/8/layout/radial5"/>
    <dgm:cxn modelId="{9E7CEFB5-606C-4A82-9B75-2CA3DC0E22AA}" type="presOf" srcId="{53A4B96A-F180-4B49-AFD2-94DB7FFB9C9B}" destId="{A8B3F084-C609-41DF-B7A5-B3D696D8E9F8}" srcOrd="0" destOrd="0" presId="urn:microsoft.com/office/officeart/2005/8/layout/radial5"/>
    <dgm:cxn modelId="{00D2FA10-9E97-4010-8AC9-429182CAB5EE}" type="presOf" srcId="{334ED455-8D5E-4D30-9193-FC0104F126C2}" destId="{49785FAB-08E8-4433-97CB-3DACD2EB519D}" srcOrd="0" destOrd="0" presId="urn:microsoft.com/office/officeart/2005/8/layout/radial5"/>
    <dgm:cxn modelId="{A103B6EC-636B-4DB3-BDAE-A37EED4D98AB}" srcId="{334ED455-8D5E-4D30-9193-FC0104F126C2}" destId="{17AB8A0D-C441-4F75-AC89-50AE7EAA3799}" srcOrd="2" destOrd="0" parTransId="{62481817-F739-4E66-BB27-C744FDBC2D6D}" sibTransId="{00344C43-2183-4465-9361-229AC62FD053}"/>
    <dgm:cxn modelId="{F79C3AC1-3536-443A-A25D-D6F8CB5C105A}" type="presOf" srcId="{DCADD2B7-3928-46C5-A104-E5AC6CA3A77B}" destId="{13C296FA-3601-4EBD-87AD-1921D9B05F49}" srcOrd="1" destOrd="0" presId="urn:microsoft.com/office/officeart/2005/8/layout/radial5"/>
    <dgm:cxn modelId="{B283548F-502E-4F1F-8BCE-0C6A530FF24A}" type="presOf" srcId="{62481817-F739-4E66-BB27-C744FDBC2D6D}" destId="{97BE43BE-98E9-4AE5-A36E-C4F98A061C56}" srcOrd="0" destOrd="0" presId="urn:microsoft.com/office/officeart/2005/8/layout/radial5"/>
    <dgm:cxn modelId="{9619B515-F6F5-481B-9142-356B3CD87D58}" type="presOf" srcId="{1799EB3C-DA19-44D4-A1E6-0FA32951E24B}" destId="{5FD6C9F3-8D91-4C6C-A11D-3D346290ACE1}" srcOrd="0" destOrd="0" presId="urn:microsoft.com/office/officeart/2005/8/layout/radial5"/>
    <dgm:cxn modelId="{AF1C2FF3-310A-488C-8B10-4BCE2F0DD056}" type="presOf" srcId="{54319978-9014-4D45-B48F-6EC33E288897}" destId="{8A15B3A4-12E2-481B-BE90-498DFD692BAD}" srcOrd="0" destOrd="0" presId="urn:microsoft.com/office/officeart/2005/8/layout/radial5"/>
    <dgm:cxn modelId="{AB9B6A7C-7F89-4175-99D4-607B769E41B2}" srcId="{334ED455-8D5E-4D30-9193-FC0104F126C2}" destId="{53A4B96A-F180-4B49-AFD2-94DB7FFB9C9B}" srcOrd="0" destOrd="0" parTransId="{DCADD2B7-3928-46C5-A104-E5AC6CA3A77B}" sibTransId="{35308576-4DC1-4E93-85EF-19784D39007C}"/>
    <dgm:cxn modelId="{BE7F5C3F-AC20-428D-973C-88C1F469168B}" type="presOf" srcId="{E789426A-5260-40E6-8115-ACCCDD54440D}" destId="{8A849E06-0B50-4AC8-8281-E3B6D47953A2}" srcOrd="0" destOrd="0" presId="urn:microsoft.com/office/officeart/2005/8/layout/radial5"/>
    <dgm:cxn modelId="{C073A692-AAC6-4812-A8D6-4974A07475A1}" type="presOf" srcId="{1799EB3C-DA19-44D4-A1E6-0FA32951E24B}" destId="{2611BBFA-0640-43D6-A7CD-6D8759B40B2D}" srcOrd="1" destOrd="0" presId="urn:microsoft.com/office/officeart/2005/8/layout/radial5"/>
    <dgm:cxn modelId="{257BAB38-6DEB-48AF-8CAD-23E1DD77E6B8}" type="presOf" srcId="{54319978-9014-4D45-B48F-6EC33E288897}" destId="{D5A6DA9D-BFE4-40C1-B134-4858F3585E5A}" srcOrd="1" destOrd="0" presId="urn:microsoft.com/office/officeart/2005/8/layout/radial5"/>
    <dgm:cxn modelId="{0894CD85-8EDA-44BF-A9B5-1EA44F4E7380}" type="presParOf" srcId="{8A849E06-0B50-4AC8-8281-E3B6D47953A2}" destId="{49785FAB-08E8-4433-97CB-3DACD2EB519D}" srcOrd="0" destOrd="0" presId="urn:microsoft.com/office/officeart/2005/8/layout/radial5"/>
    <dgm:cxn modelId="{0D2CB37E-6507-446E-B8AE-9C72679C1BA0}" type="presParOf" srcId="{8A849E06-0B50-4AC8-8281-E3B6D47953A2}" destId="{60413264-A758-4ED8-9205-058B092C5516}" srcOrd="1" destOrd="0" presId="urn:microsoft.com/office/officeart/2005/8/layout/radial5"/>
    <dgm:cxn modelId="{99ACD579-4E0E-4F70-84E3-00471D2510FE}" type="presParOf" srcId="{60413264-A758-4ED8-9205-058B092C5516}" destId="{13C296FA-3601-4EBD-87AD-1921D9B05F49}" srcOrd="0" destOrd="0" presId="urn:microsoft.com/office/officeart/2005/8/layout/radial5"/>
    <dgm:cxn modelId="{D5C782CA-AEDA-42D7-AC5C-623419241672}" type="presParOf" srcId="{8A849E06-0B50-4AC8-8281-E3B6D47953A2}" destId="{A8B3F084-C609-41DF-B7A5-B3D696D8E9F8}" srcOrd="2" destOrd="0" presId="urn:microsoft.com/office/officeart/2005/8/layout/radial5"/>
    <dgm:cxn modelId="{D2D1C87E-1505-45EF-BB66-439E7C99B60C}" type="presParOf" srcId="{8A849E06-0B50-4AC8-8281-E3B6D47953A2}" destId="{5FD6C9F3-8D91-4C6C-A11D-3D346290ACE1}" srcOrd="3" destOrd="0" presId="urn:microsoft.com/office/officeart/2005/8/layout/radial5"/>
    <dgm:cxn modelId="{D93F1F29-6418-4590-86B6-F70CC26814B5}" type="presParOf" srcId="{5FD6C9F3-8D91-4C6C-A11D-3D346290ACE1}" destId="{2611BBFA-0640-43D6-A7CD-6D8759B40B2D}" srcOrd="0" destOrd="0" presId="urn:microsoft.com/office/officeart/2005/8/layout/radial5"/>
    <dgm:cxn modelId="{70EE71E1-6497-41D0-A802-B8A2233B6776}" type="presParOf" srcId="{8A849E06-0B50-4AC8-8281-E3B6D47953A2}" destId="{1C81B57A-A34B-4DC2-BF49-77828593C166}" srcOrd="4" destOrd="0" presId="urn:microsoft.com/office/officeart/2005/8/layout/radial5"/>
    <dgm:cxn modelId="{EFADF79D-2F3F-45AA-81EA-C7D10F44FC4C}" type="presParOf" srcId="{8A849E06-0B50-4AC8-8281-E3B6D47953A2}" destId="{97BE43BE-98E9-4AE5-A36E-C4F98A061C56}" srcOrd="5" destOrd="0" presId="urn:microsoft.com/office/officeart/2005/8/layout/radial5"/>
    <dgm:cxn modelId="{FDD0FFF5-0E05-450D-97AF-E4101C9F198E}" type="presParOf" srcId="{97BE43BE-98E9-4AE5-A36E-C4F98A061C56}" destId="{C046D02B-D7EA-421B-9B7D-1DDB3484F2BF}" srcOrd="0" destOrd="0" presId="urn:microsoft.com/office/officeart/2005/8/layout/radial5"/>
    <dgm:cxn modelId="{2C52EBD7-9244-4771-8BA5-6519CAEFAABA}" type="presParOf" srcId="{8A849E06-0B50-4AC8-8281-E3B6D47953A2}" destId="{6D790799-C1A6-4912-A471-85393B0ED93D}" srcOrd="6" destOrd="0" presId="urn:microsoft.com/office/officeart/2005/8/layout/radial5"/>
    <dgm:cxn modelId="{EC4D5665-E1C9-4B24-98BD-E42E0ADCBBB0}" type="presParOf" srcId="{8A849E06-0B50-4AC8-8281-E3B6D47953A2}" destId="{8A15B3A4-12E2-481B-BE90-498DFD692BAD}" srcOrd="7" destOrd="0" presId="urn:microsoft.com/office/officeart/2005/8/layout/radial5"/>
    <dgm:cxn modelId="{3437B1D7-0AA0-4790-BC5C-11DF0793C898}" type="presParOf" srcId="{8A15B3A4-12E2-481B-BE90-498DFD692BAD}" destId="{D5A6DA9D-BFE4-40C1-B134-4858F3585E5A}" srcOrd="0" destOrd="0" presId="urn:microsoft.com/office/officeart/2005/8/layout/radial5"/>
    <dgm:cxn modelId="{D055E9CC-8794-4770-9E75-0FC9A49014F3}" type="presParOf" srcId="{8A849E06-0B50-4AC8-8281-E3B6D47953A2}" destId="{9325D8EB-F374-45FF-B488-BDF1EC5AC75D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B89EEA0-3005-47B6-B7D1-4ADEA05CC9A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3D23F6B-6253-4973-B8E4-8790EF206CDD}">
      <dgm:prSet/>
      <dgm:spPr/>
      <dgm:t>
        <a:bodyPr/>
        <a:lstStyle/>
        <a:p>
          <a:pPr algn="ctr" rtl="0"/>
          <a:r>
            <a:rPr lang="en-US" dirty="0" smtClean="0"/>
            <a:t>Integrity problems</a:t>
          </a:r>
          <a:endParaRPr lang="en-US" dirty="0"/>
        </a:p>
      </dgm:t>
    </dgm:pt>
    <dgm:pt modelId="{F041B6F4-93AD-4482-984A-21E68FD685D8}" type="parTrans" cxnId="{C4C58566-A038-465A-91DB-998D8C2176BF}">
      <dgm:prSet/>
      <dgm:spPr/>
      <dgm:t>
        <a:bodyPr/>
        <a:lstStyle/>
        <a:p>
          <a:endParaRPr lang="en-US"/>
        </a:p>
      </dgm:t>
    </dgm:pt>
    <dgm:pt modelId="{51C03B14-8C43-46E6-89FB-9B1C7132BD42}" type="sibTrans" cxnId="{C4C58566-A038-465A-91DB-998D8C2176BF}">
      <dgm:prSet/>
      <dgm:spPr/>
      <dgm:t>
        <a:bodyPr/>
        <a:lstStyle/>
        <a:p>
          <a:endParaRPr lang="en-US"/>
        </a:p>
      </dgm:t>
    </dgm:pt>
    <dgm:pt modelId="{27F1CB78-7B42-4A63-9A7F-33D00D50CD9D}" type="pres">
      <dgm:prSet presAssocID="{FB89EEA0-3005-47B6-B7D1-4ADEA05CC9A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E7A8635-CE56-47EF-B490-D5DDB7A2249C}" type="pres">
      <dgm:prSet presAssocID="{A3D23F6B-6253-4973-B8E4-8790EF206CDD}" presName="parentText" presStyleLbl="node1" presStyleIdx="0" presStyleCnt="1" custLinFactNeighborX="5455" custLinFactNeighborY="-138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C2B90A-DB23-4AFA-AFD1-BFD1F41FAFFC}" type="presOf" srcId="{FB89EEA0-3005-47B6-B7D1-4ADEA05CC9A8}" destId="{27F1CB78-7B42-4A63-9A7F-33D00D50CD9D}" srcOrd="0" destOrd="0" presId="urn:microsoft.com/office/officeart/2005/8/layout/vList2"/>
    <dgm:cxn modelId="{BF9C9EA5-D596-4564-BDA4-3F33A0E23B98}" type="presOf" srcId="{A3D23F6B-6253-4973-B8E4-8790EF206CDD}" destId="{3E7A8635-CE56-47EF-B490-D5DDB7A2249C}" srcOrd="0" destOrd="0" presId="urn:microsoft.com/office/officeart/2005/8/layout/vList2"/>
    <dgm:cxn modelId="{C4C58566-A038-465A-91DB-998D8C2176BF}" srcId="{FB89EEA0-3005-47B6-B7D1-4ADEA05CC9A8}" destId="{A3D23F6B-6253-4973-B8E4-8790EF206CDD}" srcOrd="0" destOrd="0" parTransId="{F041B6F4-93AD-4482-984A-21E68FD685D8}" sibTransId="{51C03B14-8C43-46E6-89FB-9B1C7132BD42}"/>
    <dgm:cxn modelId="{66B6E0D7-566B-45CC-8AA6-F0E94741E211}" type="presParOf" srcId="{27F1CB78-7B42-4A63-9A7F-33D00D50CD9D}" destId="{3E7A8635-CE56-47EF-B490-D5DDB7A2249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D4296F7-3147-42F1-9118-390B747158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BD75F67-6B47-4581-B580-12A5B1EC4043}">
      <dgm:prSet/>
      <dgm:spPr/>
      <dgm:t>
        <a:bodyPr/>
        <a:lstStyle/>
        <a:p>
          <a:pPr algn="ctr" rtl="0"/>
          <a:r>
            <a:rPr lang="en-US" dirty="0" smtClean="0"/>
            <a:t>Concurrent access</a:t>
          </a:r>
          <a:endParaRPr lang="en-US" dirty="0"/>
        </a:p>
      </dgm:t>
    </dgm:pt>
    <dgm:pt modelId="{907D1C9C-C114-410D-ADF8-00E8197D5629}" type="parTrans" cxnId="{D60E4A4D-C839-4161-B310-DBB18A5D6473}">
      <dgm:prSet/>
      <dgm:spPr/>
      <dgm:t>
        <a:bodyPr/>
        <a:lstStyle/>
        <a:p>
          <a:endParaRPr lang="en-US"/>
        </a:p>
      </dgm:t>
    </dgm:pt>
    <dgm:pt modelId="{F7A19CDC-7204-42B0-8FA4-BE027227C4FE}" type="sibTrans" cxnId="{D60E4A4D-C839-4161-B310-DBB18A5D6473}">
      <dgm:prSet/>
      <dgm:spPr/>
      <dgm:t>
        <a:bodyPr/>
        <a:lstStyle/>
        <a:p>
          <a:endParaRPr lang="en-US"/>
        </a:p>
      </dgm:t>
    </dgm:pt>
    <dgm:pt modelId="{CB7CDDC2-604A-4C62-8E1C-2C2DC8009A19}" type="pres">
      <dgm:prSet presAssocID="{AD4296F7-3147-42F1-9118-390B747158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D4C9F8A-FD67-4728-AAC7-E0E2E201E1D3}" type="pres">
      <dgm:prSet presAssocID="{5BD75F67-6B47-4581-B580-12A5B1EC4043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42B3859-6D04-4808-B4E7-518A8B8765B4}" type="presOf" srcId="{5BD75F67-6B47-4581-B580-12A5B1EC4043}" destId="{AD4C9F8A-FD67-4728-AAC7-E0E2E201E1D3}" srcOrd="0" destOrd="0" presId="urn:microsoft.com/office/officeart/2005/8/layout/vList2"/>
    <dgm:cxn modelId="{D60E4A4D-C839-4161-B310-DBB18A5D6473}" srcId="{AD4296F7-3147-42F1-9118-390B74715860}" destId="{5BD75F67-6B47-4581-B580-12A5B1EC4043}" srcOrd="0" destOrd="0" parTransId="{907D1C9C-C114-410D-ADF8-00E8197D5629}" sibTransId="{F7A19CDC-7204-42B0-8FA4-BE027227C4FE}"/>
    <dgm:cxn modelId="{90DF8494-7F4C-4D65-9C62-068161E28FFC}" type="presOf" srcId="{AD4296F7-3147-42F1-9118-390B74715860}" destId="{CB7CDDC2-604A-4C62-8E1C-2C2DC8009A19}" srcOrd="0" destOrd="0" presId="urn:microsoft.com/office/officeart/2005/8/layout/vList2"/>
    <dgm:cxn modelId="{FC01BFF2-1083-4BED-99BB-303EB1FE7FB4}" type="presParOf" srcId="{CB7CDDC2-604A-4C62-8E1C-2C2DC8009A19}" destId="{AD4C9F8A-FD67-4728-AAC7-E0E2E201E1D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EEAE0EC-C26F-4DC5-A41A-698826DD714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8E296CA-5C31-4DCB-BCED-AE281C7AEAC1}">
      <dgm:prSet/>
      <dgm:spPr/>
      <dgm:t>
        <a:bodyPr/>
        <a:lstStyle/>
        <a:p>
          <a:pPr algn="ctr" rtl="0"/>
          <a:r>
            <a:rPr lang="en-US" dirty="0" smtClean="0"/>
            <a:t>Data redundancy</a:t>
          </a:r>
          <a:endParaRPr lang="en-US" dirty="0"/>
        </a:p>
      </dgm:t>
    </dgm:pt>
    <dgm:pt modelId="{7A92ABFF-84D8-48BE-930D-3626222798BF}" type="parTrans" cxnId="{C85DC860-2B45-4144-AD61-86C43528B7FF}">
      <dgm:prSet/>
      <dgm:spPr/>
      <dgm:t>
        <a:bodyPr/>
        <a:lstStyle/>
        <a:p>
          <a:endParaRPr lang="en-US"/>
        </a:p>
      </dgm:t>
    </dgm:pt>
    <dgm:pt modelId="{E13362AD-1612-4989-BFC3-35C069DBA6A8}" type="sibTrans" cxnId="{C85DC860-2B45-4144-AD61-86C43528B7FF}">
      <dgm:prSet/>
      <dgm:spPr/>
      <dgm:t>
        <a:bodyPr/>
        <a:lstStyle/>
        <a:p>
          <a:endParaRPr lang="en-US"/>
        </a:p>
      </dgm:t>
    </dgm:pt>
    <dgm:pt modelId="{98ECFD05-814B-4C12-B7EB-E2FF17F6BA84}" type="pres">
      <dgm:prSet presAssocID="{AEEAE0EC-C26F-4DC5-A41A-698826DD71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8D96BD7-958B-4FAE-BA0C-3D56CEBC2C26}" type="pres">
      <dgm:prSet presAssocID="{E8E296CA-5C31-4DCB-BCED-AE281C7AEAC1}" presName="parentText" presStyleLbl="node1" presStyleIdx="0" presStyleCnt="1" custLinFactNeighborX="12281" custLinFactNeighborY="-132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85DC860-2B45-4144-AD61-86C43528B7FF}" srcId="{AEEAE0EC-C26F-4DC5-A41A-698826DD714C}" destId="{E8E296CA-5C31-4DCB-BCED-AE281C7AEAC1}" srcOrd="0" destOrd="0" parTransId="{7A92ABFF-84D8-48BE-930D-3626222798BF}" sibTransId="{E13362AD-1612-4989-BFC3-35C069DBA6A8}"/>
    <dgm:cxn modelId="{30A04C63-8733-4444-880C-F1E2E20999FE}" type="presOf" srcId="{E8E296CA-5C31-4DCB-BCED-AE281C7AEAC1}" destId="{08D96BD7-958B-4FAE-BA0C-3D56CEBC2C26}" srcOrd="0" destOrd="0" presId="urn:microsoft.com/office/officeart/2005/8/layout/vList2"/>
    <dgm:cxn modelId="{8A292444-A1D1-4B36-A58D-DBF4A669EFD7}" type="presOf" srcId="{AEEAE0EC-C26F-4DC5-A41A-698826DD714C}" destId="{98ECFD05-814B-4C12-B7EB-E2FF17F6BA84}" srcOrd="0" destOrd="0" presId="urn:microsoft.com/office/officeart/2005/8/layout/vList2"/>
    <dgm:cxn modelId="{08618139-89D9-4CBC-B2EF-81508BD9E6D4}" type="presParOf" srcId="{98ECFD05-814B-4C12-B7EB-E2FF17F6BA84}" destId="{08D96BD7-958B-4FAE-BA0C-3D56CEBC2C2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C5412DF-A7A3-46F2-B8DF-D619D57AC27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D52FF92-EC72-4794-B210-16B211B35E93}">
      <dgm:prSet/>
      <dgm:spPr/>
      <dgm:t>
        <a:bodyPr/>
        <a:lstStyle/>
        <a:p>
          <a:pPr algn="ctr" rtl="0"/>
          <a:r>
            <a:rPr lang="en-US" dirty="0" smtClean="0"/>
            <a:t>Data Inconsistency</a:t>
          </a:r>
          <a:endParaRPr lang="en-US" dirty="0"/>
        </a:p>
      </dgm:t>
    </dgm:pt>
    <dgm:pt modelId="{567FB5BB-E215-4F9C-AB5C-23CEF40376F2}" type="parTrans" cxnId="{8B24936A-212D-4482-A7EB-F3D003A208F2}">
      <dgm:prSet/>
      <dgm:spPr/>
      <dgm:t>
        <a:bodyPr/>
        <a:lstStyle/>
        <a:p>
          <a:endParaRPr lang="en-US"/>
        </a:p>
      </dgm:t>
    </dgm:pt>
    <dgm:pt modelId="{EE447131-FCB8-4658-9903-78FEA968020E}" type="sibTrans" cxnId="{8B24936A-212D-4482-A7EB-F3D003A208F2}">
      <dgm:prSet/>
      <dgm:spPr/>
      <dgm:t>
        <a:bodyPr/>
        <a:lstStyle/>
        <a:p>
          <a:endParaRPr lang="en-US"/>
        </a:p>
      </dgm:t>
    </dgm:pt>
    <dgm:pt modelId="{9DB83CE8-8236-4CDD-A2C9-0517A54E5735}" type="pres">
      <dgm:prSet presAssocID="{6C5412DF-A7A3-46F2-B8DF-D619D57AC27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104D9C-B9FC-4F67-BF9A-57636F446B3E}" type="pres">
      <dgm:prSet presAssocID="{7D52FF92-EC72-4794-B210-16B211B35E93}" presName="parentText" presStyleLbl="node1" presStyleIdx="0" presStyleCnt="1" custLinFactNeighborX="9091" custLinFactNeighborY="-6192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24936A-212D-4482-A7EB-F3D003A208F2}" srcId="{6C5412DF-A7A3-46F2-B8DF-D619D57AC278}" destId="{7D52FF92-EC72-4794-B210-16B211B35E93}" srcOrd="0" destOrd="0" parTransId="{567FB5BB-E215-4F9C-AB5C-23CEF40376F2}" sibTransId="{EE447131-FCB8-4658-9903-78FEA968020E}"/>
    <dgm:cxn modelId="{E92A9EB7-EDE2-4F79-B805-BC717E4C2E22}" type="presOf" srcId="{6C5412DF-A7A3-46F2-B8DF-D619D57AC278}" destId="{9DB83CE8-8236-4CDD-A2C9-0517A54E5735}" srcOrd="0" destOrd="0" presId="urn:microsoft.com/office/officeart/2005/8/layout/vList2"/>
    <dgm:cxn modelId="{2DD34838-D65C-455A-81E8-60DC260E786B}" type="presOf" srcId="{7D52FF92-EC72-4794-B210-16B211B35E93}" destId="{66104D9C-B9FC-4F67-BF9A-57636F446B3E}" srcOrd="0" destOrd="0" presId="urn:microsoft.com/office/officeart/2005/8/layout/vList2"/>
    <dgm:cxn modelId="{4BB1D61B-2341-42BD-915C-60A699E15E71}" type="presParOf" srcId="{9DB83CE8-8236-4CDD-A2C9-0517A54E5735}" destId="{66104D9C-B9FC-4F67-BF9A-57636F446B3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E9D60B6-05D7-4F24-8641-063DBFA2B3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7D2890B-AFB3-4F2B-822C-7E02BD2B82BE}">
      <dgm:prSet/>
      <dgm:spPr/>
      <dgm:t>
        <a:bodyPr/>
        <a:lstStyle/>
        <a:p>
          <a:pPr algn="ctr" rtl="0"/>
          <a:r>
            <a:rPr lang="en-US" dirty="0" smtClean="0"/>
            <a:t>Atomicity Problems</a:t>
          </a:r>
          <a:endParaRPr lang="en-US" dirty="0"/>
        </a:p>
      </dgm:t>
    </dgm:pt>
    <dgm:pt modelId="{E7806F7D-91ED-4361-BA35-59A20525585E}" type="parTrans" cxnId="{E7E47A45-7E7C-44AB-933F-EA4A2EC42CCE}">
      <dgm:prSet/>
      <dgm:spPr/>
      <dgm:t>
        <a:bodyPr/>
        <a:lstStyle/>
        <a:p>
          <a:endParaRPr lang="en-US"/>
        </a:p>
      </dgm:t>
    </dgm:pt>
    <dgm:pt modelId="{553C6E03-069B-47F5-B511-4E1B30A149AD}" type="sibTrans" cxnId="{E7E47A45-7E7C-44AB-933F-EA4A2EC42CCE}">
      <dgm:prSet/>
      <dgm:spPr/>
      <dgm:t>
        <a:bodyPr/>
        <a:lstStyle/>
        <a:p>
          <a:endParaRPr lang="en-US"/>
        </a:p>
      </dgm:t>
    </dgm:pt>
    <dgm:pt modelId="{BBD45374-2C62-4B81-BD85-D31170D8FF77}" type="pres">
      <dgm:prSet presAssocID="{FE9D60B6-05D7-4F24-8641-063DBFA2B3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68C9E7C-7E43-4359-90C4-6D0CC8404608}" type="pres">
      <dgm:prSet presAssocID="{07D2890B-AFB3-4F2B-822C-7E02BD2B82BE}" presName="parentText" presStyleLbl="node1" presStyleIdx="0" presStyleCnt="1" custLinFactNeighborX="-17" custLinFactNeighborY="-6283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271D694-DF85-457A-BA44-A6D0B2C79146}" type="presOf" srcId="{07D2890B-AFB3-4F2B-822C-7E02BD2B82BE}" destId="{868C9E7C-7E43-4359-90C4-6D0CC8404608}" srcOrd="0" destOrd="0" presId="urn:microsoft.com/office/officeart/2005/8/layout/vList2"/>
    <dgm:cxn modelId="{D8C7F0FD-672A-46FE-882D-556FAC6853D7}" type="presOf" srcId="{FE9D60B6-05D7-4F24-8641-063DBFA2B3A4}" destId="{BBD45374-2C62-4B81-BD85-D31170D8FF77}" srcOrd="0" destOrd="0" presId="urn:microsoft.com/office/officeart/2005/8/layout/vList2"/>
    <dgm:cxn modelId="{E7E47A45-7E7C-44AB-933F-EA4A2EC42CCE}" srcId="{FE9D60B6-05D7-4F24-8641-063DBFA2B3A4}" destId="{07D2890B-AFB3-4F2B-822C-7E02BD2B82BE}" srcOrd="0" destOrd="0" parTransId="{E7806F7D-91ED-4361-BA35-59A20525585E}" sibTransId="{553C6E03-069B-47F5-B511-4E1B30A149AD}"/>
    <dgm:cxn modelId="{8F95ECFB-5E74-4ABC-98B6-D39DD6307F6C}" type="presParOf" srcId="{BBD45374-2C62-4B81-BD85-D31170D8FF77}" destId="{868C9E7C-7E43-4359-90C4-6D0CC840460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2061092C-5436-4462-BC4C-AFB06591792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832F0867-DD9C-4681-89D8-16423BDF647B}">
      <dgm:prSet/>
      <dgm:spPr/>
      <dgm:t>
        <a:bodyPr/>
        <a:lstStyle/>
        <a:p>
          <a:pPr algn="ctr" rtl="0"/>
          <a:r>
            <a:rPr lang="en-US" dirty="0" smtClean="0"/>
            <a:t>Inconsistency</a:t>
          </a:r>
          <a:endParaRPr lang="en-US" dirty="0"/>
        </a:p>
      </dgm:t>
    </dgm:pt>
    <dgm:pt modelId="{3ACA68D6-D0DE-4F10-8705-45F23CF805C2}" type="parTrans" cxnId="{ED5DC51B-51E9-4B52-A808-5CCE1E5336DE}">
      <dgm:prSet/>
      <dgm:spPr/>
      <dgm:t>
        <a:bodyPr/>
        <a:lstStyle/>
        <a:p>
          <a:endParaRPr lang="en-US"/>
        </a:p>
      </dgm:t>
    </dgm:pt>
    <dgm:pt modelId="{5D174A36-33FC-4963-AAF7-FAA5D5A4A6BA}" type="sibTrans" cxnId="{ED5DC51B-51E9-4B52-A808-5CCE1E5336DE}">
      <dgm:prSet/>
      <dgm:spPr/>
      <dgm:t>
        <a:bodyPr/>
        <a:lstStyle/>
        <a:p>
          <a:endParaRPr lang="en-US"/>
        </a:p>
      </dgm:t>
    </dgm:pt>
    <dgm:pt modelId="{97CDDF52-E491-4C93-A1E3-D7FD8DCAB877}" type="pres">
      <dgm:prSet presAssocID="{2061092C-5436-4462-BC4C-AFB06591792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00E3D8A-2D37-4455-96E4-CE78290E219E}" type="pres">
      <dgm:prSet presAssocID="{832F0867-DD9C-4681-89D8-16423BDF647B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5DC51B-51E9-4B52-A808-5CCE1E5336DE}" srcId="{2061092C-5436-4462-BC4C-AFB06591792C}" destId="{832F0867-DD9C-4681-89D8-16423BDF647B}" srcOrd="0" destOrd="0" parTransId="{3ACA68D6-D0DE-4F10-8705-45F23CF805C2}" sibTransId="{5D174A36-33FC-4963-AAF7-FAA5D5A4A6BA}"/>
    <dgm:cxn modelId="{569EEFFB-4E9C-407C-9BEA-1078CA120AF6}" type="presOf" srcId="{832F0867-DD9C-4681-89D8-16423BDF647B}" destId="{E00E3D8A-2D37-4455-96E4-CE78290E219E}" srcOrd="0" destOrd="0" presId="urn:microsoft.com/office/officeart/2005/8/layout/vList2"/>
    <dgm:cxn modelId="{F221E4C1-A7B7-4587-912E-F8C831FF1DE0}" type="presOf" srcId="{2061092C-5436-4462-BC4C-AFB06591792C}" destId="{97CDDF52-E491-4C93-A1E3-D7FD8DCAB877}" srcOrd="0" destOrd="0" presId="urn:microsoft.com/office/officeart/2005/8/layout/vList2"/>
    <dgm:cxn modelId="{D2EFA3F9-4CEB-4B38-B4A0-55D68548A5F7}" type="presParOf" srcId="{97CDDF52-E491-4C93-A1E3-D7FD8DCAB877}" destId="{E00E3D8A-2D37-4455-96E4-CE78290E21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98CC964-C64D-4F7D-9F2D-3C687C3052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8FF03E4-60EF-4BAA-BD50-2EC24CF78474}">
      <dgm:prSet/>
      <dgm:spPr/>
      <dgm:t>
        <a:bodyPr/>
        <a:lstStyle/>
        <a:p>
          <a:pPr algn="ctr" rtl="0"/>
          <a:r>
            <a:rPr lang="en-US" dirty="0" smtClean="0"/>
            <a:t>Integrity</a:t>
          </a:r>
          <a:endParaRPr lang="en-US" dirty="0"/>
        </a:p>
      </dgm:t>
    </dgm:pt>
    <dgm:pt modelId="{168F7B6A-C478-421B-ACE7-6BB0969884E5}" type="parTrans" cxnId="{5BC618DD-BB40-4D29-87B5-566E5F2B51E6}">
      <dgm:prSet/>
      <dgm:spPr/>
      <dgm:t>
        <a:bodyPr/>
        <a:lstStyle/>
        <a:p>
          <a:endParaRPr lang="en-US"/>
        </a:p>
      </dgm:t>
    </dgm:pt>
    <dgm:pt modelId="{9598FD56-FB21-4067-8586-407AE97D502F}" type="sibTrans" cxnId="{5BC618DD-BB40-4D29-87B5-566E5F2B51E6}">
      <dgm:prSet/>
      <dgm:spPr/>
      <dgm:t>
        <a:bodyPr/>
        <a:lstStyle/>
        <a:p>
          <a:endParaRPr lang="en-US"/>
        </a:p>
      </dgm:t>
    </dgm:pt>
    <dgm:pt modelId="{A18625DB-F9EF-42B2-B7D2-A37FCBEA88C8}" type="pres">
      <dgm:prSet presAssocID="{A98CC964-C64D-4F7D-9F2D-3C687C30520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784AF36-886F-4F8E-B299-BFFED737A39E}" type="pres">
      <dgm:prSet presAssocID="{58FF03E4-60EF-4BAA-BD50-2EC24CF78474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CA07EB2-C882-407B-88FD-D1159E9C0BCF}" type="presOf" srcId="{A98CC964-C64D-4F7D-9F2D-3C687C305203}" destId="{A18625DB-F9EF-42B2-B7D2-A37FCBEA88C8}" srcOrd="0" destOrd="0" presId="urn:microsoft.com/office/officeart/2005/8/layout/vList2"/>
    <dgm:cxn modelId="{B956530C-7149-48B7-8D0C-C8837476959C}" type="presOf" srcId="{58FF03E4-60EF-4BAA-BD50-2EC24CF78474}" destId="{5784AF36-886F-4F8E-B299-BFFED737A39E}" srcOrd="0" destOrd="0" presId="urn:microsoft.com/office/officeart/2005/8/layout/vList2"/>
    <dgm:cxn modelId="{5BC618DD-BB40-4D29-87B5-566E5F2B51E6}" srcId="{A98CC964-C64D-4F7D-9F2D-3C687C305203}" destId="{58FF03E4-60EF-4BAA-BD50-2EC24CF78474}" srcOrd="0" destOrd="0" parTransId="{168F7B6A-C478-421B-ACE7-6BB0969884E5}" sibTransId="{9598FD56-FB21-4067-8586-407AE97D502F}"/>
    <dgm:cxn modelId="{18357CAC-5CB7-482F-A6AE-78140B8457F6}" type="presParOf" srcId="{A18625DB-F9EF-42B2-B7D2-A37FCBEA88C8}" destId="{5784AF36-886F-4F8E-B299-BFFED737A3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8235E1F-93E6-41A2-81F2-5054C34675F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951C84B-17D0-4C32-8D99-6D0AAD039650}">
      <dgm:prSet/>
      <dgm:spPr/>
      <dgm:t>
        <a:bodyPr/>
        <a:lstStyle/>
        <a:p>
          <a:pPr algn="ctr" rtl="0"/>
          <a:r>
            <a:rPr lang="en-US" dirty="0" smtClean="0"/>
            <a:t>Recovery services</a:t>
          </a:r>
          <a:endParaRPr lang="en-US" dirty="0"/>
        </a:p>
      </dgm:t>
    </dgm:pt>
    <dgm:pt modelId="{C89A8B3A-620B-437E-B985-1524446F1311}" type="parTrans" cxnId="{BD1633A9-875A-418E-A518-E63EAB6EC7E8}">
      <dgm:prSet/>
      <dgm:spPr/>
      <dgm:t>
        <a:bodyPr/>
        <a:lstStyle/>
        <a:p>
          <a:endParaRPr lang="en-US"/>
        </a:p>
      </dgm:t>
    </dgm:pt>
    <dgm:pt modelId="{069CA4C7-C222-4221-86D1-C72E88AE635C}" type="sibTrans" cxnId="{BD1633A9-875A-418E-A518-E63EAB6EC7E8}">
      <dgm:prSet/>
      <dgm:spPr/>
      <dgm:t>
        <a:bodyPr/>
        <a:lstStyle/>
        <a:p>
          <a:endParaRPr lang="en-US"/>
        </a:p>
      </dgm:t>
    </dgm:pt>
    <dgm:pt modelId="{FB4968F2-7AF1-48C2-9684-03A4B5C65B2D}" type="pres">
      <dgm:prSet presAssocID="{C8235E1F-93E6-41A2-81F2-5054C34675F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20A7E13-5BA6-4137-9B5C-B6A0232509BE}" type="pres">
      <dgm:prSet presAssocID="{A951C84B-17D0-4C32-8D99-6D0AAD03965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ADE405-6A63-4C18-B16B-B10EE2A51F24}" type="presOf" srcId="{C8235E1F-93E6-41A2-81F2-5054C34675FF}" destId="{FB4968F2-7AF1-48C2-9684-03A4B5C65B2D}" srcOrd="0" destOrd="0" presId="urn:microsoft.com/office/officeart/2005/8/layout/vList2"/>
    <dgm:cxn modelId="{BD1633A9-875A-418E-A518-E63EAB6EC7E8}" srcId="{C8235E1F-93E6-41A2-81F2-5054C34675FF}" destId="{A951C84B-17D0-4C32-8D99-6D0AAD039650}" srcOrd="0" destOrd="0" parTransId="{C89A8B3A-620B-437E-B985-1524446F1311}" sibTransId="{069CA4C7-C222-4221-86D1-C72E88AE635C}"/>
    <dgm:cxn modelId="{21A3EB85-7695-4606-8BB9-9C1BC7552E7C}" type="presOf" srcId="{A951C84B-17D0-4C32-8D99-6D0AAD039650}" destId="{120A7E13-5BA6-4137-9B5C-B6A0232509BE}" srcOrd="0" destOrd="0" presId="urn:microsoft.com/office/officeart/2005/8/layout/vList2"/>
    <dgm:cxn modelId="{712C0B8B-BFDA-41ED-802D-ED336A53D9DE}" type="presParOf" srcId="{FB4968F2-7AF1-48C2-9684-03A4B5C65B2D}" destId="{120A7E13-5BA6-4137-9B5C-B6A0232509B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2613756-85A6-477F-82F5-4EC2E41F317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7CF062E-53AA-4ACC-B1AF-1DFBEC83A4F1}">
      <dgm:prSet/>
      <dgm:spPr/>
      <dgm:t>
        <a:bodyPr/>
        <a:lstStyle/>
        <a:p>
          <a:pPr algn="ctr" rtl="0"/>
          <a:r>
            <a:rPr lang="en-US" dirty="0" smtClean="0"/>
            <a:t>Controlling Redundancy</a:t>
          </a:r>
          <a:endParaRPr lang="en-US" dirty="0"/>
        </a:p>
      </dgm:t>
    </dgm:pt>
    <dgm:pt modelId="{C028206D-EF03-41DE-A9D5-089A73CCF42B}" type="parTrans" cxnId="{B6FCA45A-4598-4C2F-B321-B17E9CDD1B14}">
      <dgm:prSet/>
      <dgm:spPr/>
      <dgm:t>
        <a:bodyPr/>
        <a:lstStyle/>
        <a:p>
          <a:endParaRPr lang="en-US"/>
        </a:p>
      </dgm:t>
    </dgm:pt>
    <dgm:pt modelId="{E599FC5A-23AA-4387-812B-73F0DFB85855}" type="sibTrans" cxnId="{B6FCA45A-4598-4C2F-B321-B17E9CDD1B14}">
      <dgm:prSet/>
      <dgm:spPr/>
      <dgm:t>
        <a:bodyPr/>
        <a:lstStyle/>
        <a:p>
          <a:endParaRPr lang="en-US"/>
        </a:p>
      </dgm:t>
    </dgm:pt>
    <dgm:pt modelId="{AB789016-1C99-4A5C-9293-A621ED639EE1}" type="pres">
      <dgm:prSet presAssocID="{F2613756-85A6-477F-82F5-4EC2E41F317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21CF6D-1A60-48ED-B7EC-51D4CD9995A3}" type="pres">
      <dgm:prSet presAssocID="{E7CF062E-53AA-4ACC-B1AF-1DFBEC83A4F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2E9D32-9E16-4E0F-B8E9-5D0C85F37718}" type="presOf" srcId="{F2613756-85A6-477F-82F5-4EC2E41F317C}" destId="{AB789016-1C99-4A5C-9293-A621ED639EE1}" srcOrd="0" destOrd="0" presId="urn:microsoft.com/office/officeart/2005/8/layout/vList2"/>
    <dgm:cxn modelId="{B6FCA45A-4598-4C2F-B321-B17E9CDD1B14}" srcId="{F2613756-85A6-477F-82F5-4EC2E41F317C}" destId="{E7CF062E-53AA-4ACC-B1AF-1DFBEC83A4F1}" srcOrd="0" destOrd="0" parTransId="{C028206D-EF03-41DE-A9D5-089A73CCF42B}" sibTransId="{E599FC5A-23AA-4387-812B-73F0DFB85855}"/>
    <dgm:cxn modelId="{21757CDE-185A-47A1-A3ED-A5E5DA34DE32}" type="presOf" srcId="{E7CF062E-53AA-4ACC-B1AF-1DFBEC83A4F1}" destId="{0921CF6D-1A60-48ED-B7EC-51D4CD9995A3}" srcOrd="0" destOrd="0" presId="urn:microsoft.com/office/officeart/2005/8/layout/vList2"/>
    <dgm:cxn modelId="{A8409B08-13EC-4471-A5C3-E78B8593FC72}" type="presParOf" srcId="{AB789016-1C99-4A5C-9293-A621ED639EE1}" destId="{0921CF6D-1A60-48ED-B7EC-51D4CD9995A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811BC24A-EF9F-48FB-9616-AFCC27F098D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DEEE5FC-0736-4B81-89C8-98A5C0C9B066}">
      <dgm:prSet/>
      <dgm:spPr/>
      <dgm:t>
        <a:bodyPr/>
        <a:lstStyle/>
        <a:p>
          <a:pPr rtl="0"/>
          <a:r>
            <a:rPr lang="en-US" dirty="0" smtClean="0"/>
            <a:t>Restricting unauthorized access</a:t>
          </a:r>
          <a:endParaRPr lang="en-US" dirty="0"/>
        </a:p>
      </dgm:t>
    </dgm:pt>
    <dgm:pt modelId="{EF85E242-0203-4D15-9CA9-FFAEBA603D8E}" type="parTrans" cxnId="{785B9631-AA30-46CA-B7F5-D4BA1F34410E}">
      <dgm:prSet/>
      <dgm:spPr/>
      <dgm:t>
        <a:bodyPr/>
        <a:lstStyle/>
        <a:p>
          <a:endParaRPr lang="en-US"/>
        </a:p>
      </dgm:t>
    </dgm:pt>
    <dgm:pt modelId="{9799F7FE-4567-49D9-9FD1-A3B52763775B}" type="sibTrans" cxnId="{785B9631-AA30-46CA-B7F5-D4BA1F34410E}">
      <dgm:prSet/>
      <dgm:spPr/>
      <dgm:t>
        <a:bodyPr/>
        <a:lstStyle/>
        <a:p>
          <a:endParaRPr lang="en-US"/>
        </a:p>
      </dgm:t>
    </dgm:pt>
    <dgm:pt modelId="{1902D06E-C000-4595-8CBC-F538745A651C}" type="pres">
      <dgm:prSet presAssocID="{811BC24A-EF9F-48FB-9616-AFCC27F098D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1239242-1E93-47C1-95AC-73576CE34002}" type="pres">
      <dgm:prSet presAssocID="{7DEEE5FC-0736-4B81-89C8-98A5C0C9B06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4D4604-F1BE-4D70-839B-7714D42ED4A4}" type="presOf" srcId="{811BC24A-EF9F-48FB-9616-AFCC27F098DB}" destId="{1902D06E-C000-4595-8CBC-F538745A651C}" srcOrd="0" destOrd="0" presId="urn:microsoft.com/office/officeart/2005/8/layout/vList2"/>
    <dgm:cxn modelId="{785B9631-AA30-46CA-B7F5-D4BA1F34410E}" srcId="{811BC24A-EF9F-48FB-9616-AFCC27F098DB}" destId="{7DEEE5FC-0736-4B81-89C8-98A5C0C9B066}" srcOrd="0" destOrd="0" parTransId="{EF85E242-0203-4D15-9CA9-FFAEBA603D8E}" sibTransId="{9799F7FE-4567-49D9-9FD1-A3B52763775B}"/>
    <dgm:cxn modelId="{7A0A56F1-AF86-44FF-8887-A31BAA105C66}" type="presOf" srcId="{7DEEE5FC-0736-4B81-89C8-98A5C0C9B066}" destId="{91239242-1E93-47C1-95AC-73576CE34002}" srcOrd="0" destOrd="0" presId="urn:microsoft.com/office/officeart/2005/8/layout/vList2"/>
    <dgm:cxn modelId="{6CD7C845-6657-4653-95F9-AA3E2C808A69}" type="presParOf" srcId="{1902D06E-C000-4595-8CBC-F538745A651C}" destId="{91239242-1E93-47C1-95AC-73576CE3400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37E9A5-F1EA-49E1-A0EB-A9D5468B0C04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7AAD96-7A4D-4A9D-8F48-36B4D2B19815}">
      <dgm:prSet phldrT="[Text]"/>
      <dgm:spPr/>
      <dgm:t>
        <a:bodyPr/>
        <a:lstStyle/>
        <a:p>
          <a:r>
            <a:rPr lang="en-US" dirty="0" smtClean="0"/>
            <a:t>Device Management</a:t>
          </a:r>
          <a:endParaRPr lang="en-US" dirty="0"/>
        </a:p>
      </dgm:t>
    </dgm:pt>
    <dgm:pt modelId="{BC892D52-F849-4294-A53E-92FEC9648B29}" type="parTrans" cxnId="{9512C65D-1C01-43E5-9AE3-C6A1660D6A46}">
      <dgm:prSet/>
      <dgm:spPr/>
      <dgm:t>
        <a:bodyPr/>
        <a:lstStyle/>
        <a:p>
          <a:endParaRPr lang="en-US"/>
        </a:p>
      </dgm:t>
    </dgm:pt>
    <dgm:pt modelId="{58035D62-9D8E-4380-944A-F46D0FB4ED28}" type="sibTrans" cxnId="{9512C65D-1C01-43E5-9AE3-C6A1660D6A46}">
      <dgm:prSet/>
      <dgm:spPr/>
      <dgm:t>
        <a:bodyPr/>
        <a:lstStyle/>
        <a:p>
          <a:endParaRPr lang="en-US"/>
        </a:p>
      </dgm:t>
    </dgm:pt>
    <dgm:pt modelId="{CB354A0C-A3D8-4DE8-BD12-976DB95B1AE0}">
      <dgm:prSet phldrT="[Text]"/>
      <dgm:spPr/>
      <dgm:t>
        <a:bodyPr/>
        <a:lstStyle/>
        <a:p>
          <a:r>
            <a:rPr lang="en-US" dirty="0" smtClean="0"/>
            <a:t>Block Device</a:t>
          </a:r>
          <a:endParaRPr lang="en-US" dirty="0"/>
        </a:p>
      </dgm:t>
    </dgm:pt>
    <dgm:pt modelId="{42DB07BF-C8EC-43D0-95B6-BC8ED5ACB830}" type="parTrans" cxnId="{BCA38A6F-68EC-4522-A9D9-D4B0E720482F}">
      <dgm:prSet/>
      <dgm:spPr/>
      <dgm:t>
        <a:bodyPr/>
        <a:lstStyle/>
        <a:p>
          <a:endParaRPr lang="en-US"/>
        </a:p>
      </dgm:t>
    </dgm:pt>
    <dgm:pt modelId="{121D2DED-F16D-4CE5-AFF8-121E53A6967D}" type="sibTrans" cxnId="{BCA38A6F-68EC-4522-A9D9-D4B0E720482F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94662588-A443-44CE-AE80-AAC1DED9DB16}">
      <dgm:prSet phldrT="[Text]"/>
      <dgm:spPr/>
      <dgm:t>
        <a:bodyPr/>
        <a:lstStyle/>
        <a:p>
          <a:r>
            <a:rPr lang="en-US" dirty="0" smtClean="0"/>
            <a:t>Character Device </a:t>
          </a:r>
          <a:endParaRPr lang="en-US" dirty="0"/>
        </a:p>
      </dgm:t>
    </dgm:pt>
    <dgm:pt modelId="{650789A4-6ABC-4CE8-AA6E-AD048D7C59D2}" type="parTrans" cxnId="{878787B0-C90C-46E6-A0EC-1FC125520E0F}">
      <dgm:prSet/>
      <dgm:spPr/>
      <dgm:t>
        <a:bodyPr/>
        <a:lstStyle/>
        <a:p>
          <a:endParaRPr lang="en-US"/>
        </a:p>
      </dgm:t>
    </dgm:pt>
    <dgm:pt modelId="{3F314AC3-F325-4CD2-91A4-AD2D8E2D691D}" type="sibTrans" cxnId="{878787B0-C90C-46E6-A0EC-1FC125520E0F}">
      <dgm:prSet/>
      <dgm:spPr/>
      <dgm:t>
        <a:bodyPr/>
        <a:lstStyle/>
        <a:p>
          <a:endParaRPr lang="en-US"/>
        </a:p>
      </dgm:t>
    </dgm:pt>
    <dgm:pt modelId="{85467EF4-85AA-476E-8A58-07E2B58C7C15}" type="pres">
      <dgm:prSet presAssocID="{9237E9A5-F1EA-49E1-A0EB-A9D5468B0C0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DE51143-86F1-4CDB-88E9-6664EC088D2B}" type="pres">
      <dgm:prSet presAssocID="{717AAD96-7A4D-4A9D-8F48-36B4D2B19815}" presName="node" presStyleLbl="node1" presStyleIdx="0" presStyleCnt="3" custScaleX="1278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2E88C2-FD69-4465-8EEB-821CF1B16D5A}" type="pres">
      <dgm:prSet presAssocID="{58035D62-9D8E-4380-944A-F46D0FB4ED28}" presName="sibTrans" presStyleLbl="sibTrans2D1" presStyleIdx="0" presStyleCnt="3" custScaleX="265846" custScaleY="114121"/>
      <dgm:spPr/>
      <dgm:t>
        <a:bodyPr/>
        <a:lstStyle/>
        <a:p>
          <a:endParaRPr lang="en-US"/>
        </a:p>
      </dgm:t>
    </dgm:pt>
    <dgm:pt modelId="{A730B558-FCCC-433D-83C0-F5DD6F1291E5}" type="pres">
      <dgm:prSet presAssocID="{58035D62-9D8E-4380-944A-F46D0FB4ED28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65788452-4BE9-49FD-A139-51284C668080}" type="pres">
      <dgm:prSet presAssocID="{CB354A0C-A3D8-4DE8-BD12-976DB95B1AE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F24591-C92F-4D28-BB99-E3D217AE926C}" type="pres">
      <dgm:prSet presAssocID="{121D2DED-F16D-4CE5-AFF8-121E53A6967D}" presName="sibTrans" presStyleLbl="sibTrans2D1" presStyleIdx="1" presStyleCnt="3"/>
      <dgm:spPr/>
      <dgm:t>
        <a:bodyPr/>
        <a:lstStyle/>
        <a:p>
          <a:endParaRPr lang="en-US"/>
        </a:p>
      </dgm:t>
    </dgm:pt>
    <dgm:pt modelId="{B6E7C64C-977C-4D53-B0FF-93AAC91C6349}" type="pres">
      <dgm:prSet presAssocID="{121D2DED-F16D-4CE5-AFF8-121E53A6967D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AAEE297A-253E-409B-8C98-AF40FA47262A}" type="pres">
      <dgm:prSet presAssocID="{94662588-A443-44CE-AE80-AAC1DED9DB16}" presName="node" presStyleLbl="node1" presStyleIdx="2" presStyleCnt="3" custScaleX="1430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033CE0-6666-4782-B805-6F90415335CB}" type="pres">
      <dgm:prSet presAssocID="{3F314AC3-F325-4CD2-91A4-AD2D8E2D691D}" presName="sibTrans" presStyleLbl="sibTrans2D1" presStyleIdx="2" presStyleCnt="3" custScaleX="256492" custScaleY="92813"/>
      <dgm:spPr/>
      <dgm:t>
        <a:bodyPr/>
        <a:lstStyle/>
        <a:p>
          <a:endParaRPr lang="en-US"/>
        </a:p>
      </dgm:t>
    </dgm:pt>
    <dgm:pt modelId="{ADB7F65F-F7A4-426D-A905-9A7B987FA094}" type="pres">
      <dgm:prSet presAssocID="{3F314AC3-F325-4CD2-91A4-AD2D8E2D691D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C6272CE8-AAC9-4C8F-BE5E-6E80677A4A3B}" type="presOf" srcId="{CB354A0C-A3D8-4DE8-BD12-976DB95B1AE0}" destId="{65788452-4BE9-49FD-A139-51284C668080}" srcOrd="0" destOrd="0" presId="urn:microsoft.com/office/officeart/2005/8/layout/cycle7"/>
    <dgm:cxn modelId="{06EF746A-DD15-49F2-BF93-2D94846D0B07}" type="presOf" srcId="{9237E9A5-F1EA-49E1-A0EB-A9D5468B0C04}" destId="{85467EF4-85AA-476E-8A58-07E2B58C7C15}" srcOrd="0" destOrd="0" presId="urn:microsoft.com/office/officeart/2005/8/layout/cycle7"/>
    <dgm:cxn modelId="{878787B0-C90C-46E6-A0EC-1FC125520E0F}" srcId="{9237E9A5-F1EA-49E1-A0EB-A9D5468B0C04}" destId="{94662588-A443-44CE-AE80-AAC1DED9DB16}" srcOrd="2" destOrd="0" parTransId="{650789A4-6ABC-4CE8-AA6E-AD048D7C59D2}" sibTransId="{3F314AC3-F325-4CD2-91A4-AD2D8E2D691D}"/>
    <dgm:cxn modelId="{BCA38A6F-68EC-4522-A9D9-D4B0E720482F}" srcId="{9237E9A5-F1EA-49E1-A0EB-A9D5468B0C04}" destId="{CB354A0C-A3D8-4DE8-BD12-976DB95B1AE0}" srcOrd="1" destOrd="0" parTransId="{42DB07BF-C8EC-43D0-95B6-BC8ED5ACB830}" sibTransId="{121D2DED-F16D-4CE5-AFF8-121E53A6967D}"/>
    <dgm:cxn modelId="{CC257CCD-08F6-4181-AE9A-45108ABD05FD}" type="presOf" srcId="{121D2DED-F16D-4CE5-AFF8-121E53A6967D}" destId="{10F24591-C92F-4D28-BB99-E3D217AE926C}" srcOrd="0" destOrd="0" presId="urn:microsoft.com/office/officeart/2005/8/layout/cycle7"/>
    <dgm:cxn modelId="{72CC103F-6A98-446B-81DF-14C9ED7155D3}" type="presOf" srcId="{121D2DED-F16D-4CE5-AFF8-121E53A6967D}" destId="{B6E7C64C-977C-4D53-B0FF-93AAC91C6349}" srcOrd="1" destOrd="0" presId="urn:microsoft.com/office/officeart/2005/8/layout/cycle7"/>
    <dgm:cxn modelId="{470B7388-4AB6-431C-9569-D54D775D3253}" type="presOf" srcId="{58035D62-9D8E-4380-944A-F46D0FB4ED28}" destId="{4D2E88C2-FD69-4465-8EEB-821CF1B16D5A}" srcOrd="0" destOrd="0" presId="urn:microsoft.com/office/officeart/2005/8/layout/cycle7"/>
    <dgm:cxn modelId="{17CF0D37-EE54-4F66-B4DC-5122384BAF90}" type="presOf" srcId="{717AAD96-7A4D-4A9D-8F48-36B4D2B19815}" destId="{8DE51143-86F1-4CDB-88E9-6664EC088D2B}" srcOrd="0" destOrd="0" presId="urn:microsoft.com/office/officeart/2005/8/layout/cycle7"/>
    <dgm:cxn modelId="{A2B6E8F4-0A2E-4B93-8206-7A64FF412E1B}" type="presOf" srcId="{94662588-A443-44CE-AE80-AAC1DED9DB16}" destId="{AAEE297A-253E-409B-8C98-AF40FA47262A}" srcOrd="0" destOrd="0" presId="urn:microsoft.com/office/officeart/2005/8/layout/cycle7"/>
    <dgm:cxn modelId="{60F87222-8378-4FC8-B3BC-DC7D5BC07D0B}" type="presOf" srcId="{3F314AC3-F325-4CD2-91A4-AD2D8E2D691D}" destId="{CB033CE0-6666-4782-B805-6F90415335CB}" srcOrd="0" destOrd="0" presId="urn:microsoft.com/office/officeart/2005/8/layout/cycle7"/>
    <dgm:cxn modelId="{C0D23BA4-1163-481C-A4EF-06FB18C7E486}" type="presOf" srcId="{3F314AC3-F325-4CD2-91A4-AD2D8E2D691D}" destId="{ADB7F65F-F7A4-426D-A905-9A7B987FA094}" srcOrd="1" destOrd="0" presId="urn:microsoft.com/office/officeart/2005/8/layout/cycle7"/>
    <dgm:cxn modelId="{9512C65D-1C01-43E5-9AE3-C6A1660D6A46}" srcId="{9237E9A5-F1EA-49E1-A0EB-A9D5468B0C04}" destId="{717AAD96-7A4D-4A9D-8F48-36B4D2B19815}" srcOrd="0" destOrd="0" parTransId="{BC892D52-F849-4294-A53E-92FEC9648B29}" sibTransId="{58035D62-9D8E-4380-944A-F46D0FB4ED28}"/>
    <dgm:cxn modelId="{947C195C-0B4D-4172-99F3-3DF3F189DA2C}" type="presOf" srcId="{58035D62-9D8E-4380-944A-F46D0FB4ED28}" destId="{A730B558-FCCC-433D-83C0-F5DD6F1291E5}" srcOrd="1" destOrd="0" presId="urn:microsoft.com/office/officeart/2005/8/layout/cycle7"/>
    <dgm:cxn modelId="{492553D7-CF4A-44A6-8784-E72FA36CEB0B}" type="presParOf" srcId="{85467EF4-85AA-476E-8A58-07E2B58C7C15}" destId="{8DE51143-86F1-4CDB-88E9-6664EC088D2B}" srcOrd="0" destOrd="0" presId="urn:microsoft.com/office/officeart/2005/8/layout/cycle7"/>
    <dgm:cxn modelId="{A15B7578-9E4F-495E-B4D2-FD21EBD64AC3}" type="presParOf" srcId="{85467EF4-85AA-476E-8A58-07E2B58C7C15}" destId="{4D2E88C2-FD69-4465-8EEB-821CF1B16D5A}" srcOrd="1" destOrd="0" presId="urn:microsoft.com/office/officeart/2005/8/layout/cycle7"/>
    <dgm:cxn modelId="{8B500479-09AB-48B7-AA50-89E4C3C45B1E}" type="presParOf" srcId="{4D2E88C2-FD69-4465-8EEB-821CF1B16D5A}" destId="{A730B558-FCCC-433D-83C0-F5DD6F1291E5}" srcOrd="0" destOrd="0" presId="urn:microsoft.com/office/officeart/2005/8/layout/cycle7"/>
    <dgm:cxn modelId="{CD16C67D-7D5C-4632-BEF3-FCD000032CD8}" type="presParOf" srcId="{85467EF4-85AA-476E-8A58-07E2B58C7C15}" destId="{65788452-4BE9-49FD-A139-51284C668080}" srcOrd="2" destOrd="0" presId="urn:microsoft.com/office/officeart/2005/8/layout/cycle7"/>
    <dgm:cxn modelId="{B69A76E9-72ED-4CDE-84E3-81233AB27AFD}" type="presParOf" srcId="{85467EF4-85AA-476E-8A58-07E2B58C7C15}" destId="{10F24591-C92F-4D28-BB99-E3D217AE926C}" srcOrd="3" destOrd="0" presId="urn:microsoft.com/office/officeart/2005/8/layout/cycle7"/>
    <dgm:cxn modelId="{A922ABFB-6A3C-48DB-ACA8-3E3BA6F9E1C8}" type="presParOf" srcId="{10F24591-C92F-4D28-BB99-E3D217AE926C}" destId="{B6E7C64C-977C-4D53-B0FF-93AAC91C6349}" srcOrd="0" destOrd="0" presId="urn:microsoft.com/office/officeart/2005/8/layout/cycle7"/>
    <dgm:cxn modelId="{E3F905C5-FDC8-43EF-8F0A-56319A109205}" type="presParOf" srcId="{85467EF4-85AA-476E-8A58-07E2B58C7C15}" destId="{AAEE297A-253E-409B-8C98-AF40FA47262A}" srcOrd="4" destOrd="0" presId="urn:microsoft.com/office/officeart/2005/8/layout/cycle7"/>
    <dgm:cxn modelId="{BC83322F-D816-4035-9E2C-A19536935895}" type="presParOf" srcId="{85467EF4-85AA-476E-8A58-07E2B58C7C15}" destId="{CB033CE0-6666-4782-B805-6F90415335CB}" srcOrd="5" destOrd="0" presId="urn:microsoft.com/office/officeart/2005/8/layout/cycle7"/>
    <dgm:cxn modelId="{48D68C6A-6BA7-4E85-85B5-907DDB7BFDB7}" type="presParOf" srcId="{CB033CE0-6666-4782-B805-6F90415335CB}" destId="{ADB7F65F-F7A4-426D-A905-9A7B987FA094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4A87CA63-632B-4ED1-8105-D805E72BCB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CF1F707D-5D90-430B-9A9E-2FFA92161342}">
      <dgm:prSet/>
      <dgm:spPr/>
      <dgm:t>
        <a:bodyPr/>
        <a:lstStyle/>
        <a:p>
          <a:pPr algn="ctr" rtl="0"/>
          <a:r>
            <a:rPr lang="en-US" dirty="0" smtClean="0"/>
            <a:t>Concurrency Control</a:t>
          </a:r>
          <a:endParaRPr lang="en-US" dirty="0"/>
        </a:p>
      </dgm:t>
    </dgm:pt>
    <dgm:pt modelId="{89D1F865-8A52-439A-A16E-386C2F65E93B}" type="parTrans" cxnId="{8FA68FB3-9447-4882-B168-04A57BF42B4C}">
      <dgm:prSet/>
      <dgm:spPr/>
      <dgm:t>
        <a:bodyPr/>
        <a:lstStyle/>
        <a:p>
          <a:endParaRPr lang="en-US"/>
        </a:p>
      </dgm:t>
    </dgm:pt>
    <dgm:pt modelId="{555EB462-AD0C-44F6-8E56-CE47ABD62D12}" type="sibTrans" cxnId="{8FA68FB3-9447-4882-B168-04A57BF42B4C}">
      <dgm:prSet/>
      <dgm:spPr/>
      <dgm:t>
        <a:bodyPr/>
        <a:lstStyle/>
        <a:p>
          <a:endParaRPr lang="en-US"/>
        </a:p>
      </dgm:t>
    </dgm:pt>
    <dgm:pt modelId="{11C9C728-8C68-41E9-A5ED-D6415A3EA929}" type="pres">
      <dgm:prSet presAssocID="{4A87CA63-632B-4ED1-8105-D805E72BCB5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246686E-58E5-4CDE-8C41-DCE6262D1FB9}" type="pres">
      <dgm:prSet presAssocID="{CF1F707D-5D90-430B-9A9E-2FFA9216134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6F7BCF-9DFE-4436-A47F-5B337083086E}" type="presOf" srcId="{4A87CA63-632B-4ED1-8105-D805E72BCB55}" destId="{11C9C728-8C68-41E9-A5ED-D6415A3EA929}" srcOrd="0" destOrd="0" presId="urn:microsoft.com/office/officeart/2005/8/layout/vList2"/>
    <dgm:cxn modelId="{8FA68FB3-9447-4882-B168-04A57BF42B4C}" srcId="{4A87CA63-632B-4ED1-8105-D805E72BCB55}" destId="{CF1F707D-5D90-430B-9A9E-2FFA92161342}" srcOrd="0" destOrd="0" parTransId="{89D1F865-8A52-439A-A16E-386C2F65E93B}" sibTransId="{555EB462-AD0C-44F6-8E56-CE47ABD62D12}"/>
    <dgm:cxn modelId="{2509BB1F-39DA-4FEA-ABCE-6EE72849577B}" type="presOf" srcId="{CF1F707D-5D90-430B-9A9E-2FFA92161342}" destId="{3246686E-58E5-4CDE-8C41-DCE6262D1FB9}" srcOrd="0" destOrd="0" presId="urn:microsoft.com/office/officeart/2005/8/layout/vList2"/>
    <dgm:cxn modelId="{162BFF1F-063A-4E60-AF06-A96D3E95EFF3}" type="presParOf" srcId="{11C9C728-8C68-41E9-A5ED-D6415A3EA929}" destId="{3246686E-58E5-4CDE-8C41-DCE6262D1FB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272C67B-0FCD-4DC5-8543-1EBD4B62490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5F3409E-D279-4D7C-883C-C9F197E76827}">
      <dgm:prSet/>
      <dgm:spPr/>
      <dgm:t>
        <a:bodyPr/>
        <a:lstStyle/>
        <a:p>
          <a:pPr algn="ctr" rtl="0"/>
          <a:r>
            <a:rPr lang="en-US" dirty="0" smtClean="0"/>
            <a:t>Direct attached Storage (DAS)</a:t>
          </a:r>
          <a:endParaRPr lang="en-US" dirty="0"/>
        </a:p>
      </dgm:t>
    </dgm:pt>
    <dgm:pt modelId="{EC8FED97-A02D-49B8-8834-0DD84DF4F156}" type="parTrans" cxnId="{988BABDC-01BE-4344-87A1-E041732E12DB}">
      <dgm:prSet/>
      <dgm:spPr/>
      <dgm:t>
        <a:bodyPr/>
        <a:lstStyle/>
        <a:p>
          <a:endParaRPr lang="en-US"/>
        </a:p>
      </dgm:t>
    </dgm:pt>
    <dgm:pt modelId="{73CD90AA-D06C-4AC1-B3D7-321A24B0D733}" type="sibTrans" cxnId="{988BABDC-01BE-4344-87A1-E041732E12DB}">
      <dgm:prSet/>
      <dgm:spPr/>
      <dgm:t>
        <a:bodyPr/>
        <a:lstStyle/>
        <a:p>
          <a:endParaRPr lang="en-US"/>
        </a:p>
      </dgm:t>
    </dgm:pt>
    <dgm:pt modelId="{1DBDA17F-C4EA-4DE8-B332-00614B6380E8}" type="pres">
      <dgm:prSet presAssocID="{0272C67B-0FCD-4DC5-8543-1EBD4B62490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B434943-5F1B-4A87-A414-DDDCAC7FDA61}" type="pres">
      <dgm:prSet presAssocID="{B5F3409E-D279-4D7C-883C-C9F197E76827}" presName="parentText" presStyleLbl="node1" presStyleIdx="0" presStyleCnt="1" custLinFactY="-400000" custLinFactNeighborX="22449" custLinFactNeighborY="-40191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CF44C8-28FC-4A42-805C-5C40849AA2C4}" type="presOf" srcId="{B5F3409E-D279-4D7C-883C-C9F197E76827}" destId="{0B434943-5F1B-4A87-A414-DDDCAC7FDA61}" srcOrd="0" destOrd="0" presId="urn:microsoft.com/office/officeart/2005/8/layout/vList2"/>
    <dgm:cxn modelId="{988BABDC-01BE-4344-87A1-E041732E12DB}" srcId="{0272C67B-0FCD-4DC5-8543-1EBD4B624906}" destId="{B5F3409E-D279-4D7C-883C-C9F197E76827}" srcOrd="0" destOrd="0" parTransId="{EC8FED97-A02D-49B8-8834-0DD84DF4F156}" sibTransId="{73CD90AA-D06C-4AC1-B3D7-321A24B0D733}"/>
    <dgm:cxn modelId="{451DA8F8-F8D0-4A8B-A6F7-0DC5CA27A82D}" type="presOf" srcId="{0272C67B-0FCD-4DC5-8543-1EBD4B624906}" destId="{1DBDA17F-C4EA-4DE8-B332-00614B6380E8}" srcOrd="0" destOrd="0" presId="urn:microsoft.com/office/officeart/2005/8/layout/vList2"/>
    <dgm:cxn modelId="{80145B56-0FBD-463E-9BA5-B3C260863D64}" type="presParOf" srcId="{1DBDA17F-C4EA-4DE8-B332-00614B6380E8}" destId="{0B434943-5F1B-4A87-A414-DDDCAC7FDA6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28C1F1CE-B3C6-435A-A2C6-9BDA2A7682A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86FA24C-04AB-4AE9-A955-429D035735DE}">
      <dgm:prSet/>
      <dgm:spPr/>
      <dgm:t>
        <a:bodyPr/>
        <a:lstStyle/>
        <a:p>
          <a:pPr algn="ctr" rtl="0"/>
          <a:r>
            <a:rPr lang="en-US" dirty="0" smtClean="0"/>
            <a:t>Network Attached Storage (NAS)</a:t>
          </a:r>
          <a:endParaRPr lang="en-US" dirty="0"/>
        </a:p>
      </dgm:t>
    </dgm:pt>
    <dgm:pt modelId="{5FA27E71-997D-495A-A487-7616CFE49233}" type="parTrans" cxnId="{0A940E66-D802-4532-B6C3-0ECF9534D671}">
      <dgm:prSet/>
      <dgm:spPr/>
      <dgm:t>
        <a:bodyPr/>
        <a:lstStyle/>
        <a:p>
          <a:endParaRPr lang="en-US"/>
        </a:p>
      </dgm:t>
    </dgm:pt>
    <dgm:pt modelId="{CEB26F9D-ECCE-484A-A8C8-A6953A142590}" type="sibTrans" cxnId="{0A940E66-D802-4532-B6C3-0ECF9534D671}">
      <dgm:prSet/>
      <dgm:spPr/>
      <dgm:t>
        <a:bodyPr/>
        <a:lstStyle/>
        <a:p>
          <a:endParaRPr lang="en-US"/>
        </a:p>
      </dgm:t>
    </dgm:pt>
    <dgm:pt modelId="{189EBD1E-E0D2-48C3-9F9A-F35EF1BFC4E2}" type="pres">
      <dgm:prSet presAssocID="{28C1F1CE-B3C6-435A-A2C6-9BDA2A7682A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F7F2D7D-81CE-4E0C-BCA8-3903A3DDDE54}" type="pres">
      <dgm:prSet presAssocID="{486FA24C-04AB-4AE9-A955-429D035735DE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A940E66-D802-4532-B6C3-0ECF9534D671}" srcId="{28C1F1CE-B3C6-435A-A2C6-9BDA2A7682AA}" destId="{486FA24C-04AB-4AE9-A955-429D035735DE}" srcOrd="0" destOrd="0" parTransId="{5FA27E71-997D-495A-A487-7616CFE49233}" sibTransId="{CEB26F9D-ECCE-484A-A8C8-A6953A142590}"/>
    <dgm:cxn modelId="{C5AA9CC3-080D-447F-8421-F254567D2744}" type="presOf" srcId="{486FA24C-04AB-4AE9-A955-429D035735DE}" destId="{7F7F2D7D-81CE-4E0C-BCA8-3903A3DDDE54}" srcOrd="0" destOrd="0" presId="urn:microsoft.com/office/officeart/2005/8/layout/vList2"/>
    <dgm:cxn modelId="{B9AE2E18-2987-4D58-8169-21A9E47801C0}" type="presOf" srcId="{28C1F1CE-B3C6-435A-A2C6-9BDA2A7682AA}" destId="{189EBD1E-E0D2-48C3-9F9A-F35EF1BFC4E2}" srcOrd="0" destOrd="0" presId="urn:microsoft.com/office/officeart/2005/8/layout/vList2"/>
    <dgm:cxn modelId="{69199E20-7F3D-47BF-B80C-414239AE879A}" type="presParOf" srcId="{189EBD1E-E0D2-48C3-9F9A-F35EF1BFC4E2}" destId="{7F7F2D7D-81CE-4E0C-BCA8-3903A3DDDE5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A5147D72-34A4-4FBB-9E28-409203D871D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D134B73-856A-477A-9E28-44AFC0EF5027}">
      <dgm:prSet/>
      <dgm:spPr/>
      <dgm:t>
        <a:bodyPr/>
        <a:lstStyle/>
        <a:p>
          <a:pPr algn="ctr" rtl="0"/>
          <a:r>
            <a:rPr lang="en-US" dirty="0" smtClean="0"/>
            <a:t>Storage Area Networks (SAN)</a:t>
          </a:r>
          <a:endParaRPr lang="en-US" dirty="0"/>
        </a:p>
      </dgm:t>
    </dgm:pt>
    <dgm:pt modelId="{1F5AF061-8E62-4170-BCFE-E80E4C1180C7}" type="parTrans" cxnId="{AD8C18B9-FD88-40FE-9857-AFEDA86AE031}">
      <dgm:prSet/>
      <dgm:spPr/>
      <dgm:t>
        <a:bodyPr/>
        <a:lstStyle/>
        <a:p>
          <a:endParaRPr lang="en-US"/>
        </a:p>
      </dgm:t>
    </dgm:pt>
    <dgm:pt modelId="{20474694-8335-4DF6-8003-E8CDB02B0D6E}" type="sibTrans" cxnId="{AD8C18B9-FD88-40FE-9857-AFEDA86AE031}">
      <dgm:prSet/>
      <dgm:spPr/>
      <dgm:t>
        <a:bodyPr/>
        <a:lstStyle/>
        <a:p>
          <a:endParaRPr lang="en-US"/>
        </a:p>
      </dgm:t>
    </dgm:pt>
    <dgm:pt modelId="{DEA0E264-784D-43D3-B41E-017F4EB947D4}" type="pres">
      <dgm:prSet presAssocID="{A5147D72-34A4-4FBB-9E28-409203D871D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37A577-96F0-41A2-9FF0-0A81A336AA36}" type="pres">
      <dgm:prSet presAssocID="{BD134B73-856A-477A-9E28-44AFC0EF5027}" presName="parentText" presStyleLbl="node1" presStyleIdx="0" presStyleCnt="1" custLinFactY="-21417" custLinFactNeighborX="-10204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52627A4-92C3-4486-9931-40C6076A7A04}" type="presOf" srcId="{BD134B73-856A-477A-9E28-44AFC0EF5027}" destId="{6B37A577-96F0-41A2-9FF0-0A81A336AA36}" srcOrd="0" destOrd="0" presId="urn:microsoft.com/office/officeart/2005/8/layout/vList2"/>
    <dgm:cxn modelId="{FDAF6177-554C-4E80-8D3B-0D8640D59533}" type="presOf" srcId="{A5147D72-34A4-4FBB-9E28-409203D871DA}" destId="{DEA0E264-784D-43D3-B41E-017F4EB947D4}" srcOrd="0" destOrd="0" presId="urn:microsoft.com/office/officeart/2005/8/layout/vList2"/>
    <dgm:cxn modelId="{AD8C18B9-FD88-40FE-9857-AFEDA86AE031}" srcId="{A5147D72-34A4-4FBB-9E28-409203D871DA}" destId="{BD134B73-856A-477A-9E28-44AFC0EF5027}" srcOrd="0" destOrd="0" parTransId="{1F5AF061-8E62-4170-BCFE-E80E4C1180C7}" sibTransId="{20474694-8335-4DF6-8003-E8CDB02B0D6E}"/>
    <dgm:cxn modelId="{561F00DD-1A32-4F25-8BCA-0E5C29A7859A}" type="presParOf" srcId="{DEA0E264-784D-43D3-B41E-017F4EB947D4}" destId="{6B37A577-96F0-41A2-9FF0-0A81A336AA3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F937A6A3-F5EF-4D03-95A4-8262B15DFED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758BDF2-A013-47C8-AF06-600CDE76DB04}">
      <dgm:prSet/>
      <dgm:spPr/>
      <dgm:t>
        <a:bodyPr/>
        <a:lstStyle/>
        <a:p>
          <a:pPr algn="ctr" rtl="0"/>
          <a:r>
            <a:rPr lang="en-US" dirty="0" smtClean="0"/>
            <a:t>Redundant Array of Independent Disk (RAID)</a:t>
          </a:r>
          <a:endParaRPr lang="en-US" dirty="0"/>
        </a:p>
      </dgm:t>
    </dgm:pt>
    <dgm:pt modelId="{5AEB96F5-A112-4346-930B-38A2E17335B0}" type="parTrans" cxnId="{498DEB58-80BD-49B2-ADA2-7C0C8AC7F59C}">
      <dgm:prSet/>
      <dgm:spPr/>
      <dgm:t>
        <a:bodyPr/>
        <a:lstStyle/>
        <a:p>
          <a:endParaRPr lang="en-US"/>
        </a:p>
      </dgm:t>
    </dgm:pt>
    <dgm:pt modelId="{BF4805B4-1551-483D-96B8-7A2FABFCD0D5}" type="sibTrans" cxnId="{498DEB58-80BD-49B2-ADA2-7C0C8AC7F59C}">
      <dgm:prSet/>
      <dgm:spPr/>
      <dgm:t>
        <a:bodyPr/>
        <a:lstStyle/>
        <a:p>
          <a:endParaRPr lang="en-US"/>
        </a:p>
      </dgm:t>
    </dgm:pt>
    <dgm:pt modelId="{29D887B8-EEA7-42EC-91AD-0AD5690F9732}" type="pres">
      <dgm:prSet presAssocID="{F937A6A3-F5EF-4D03-95A4-8262B15DFE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60191F-5995-4E1E-B6E5-0454E89CB679}" type="pres">
      <dgm:prSet presAssocID="{6758BDF2-A013-47C8-AF06-600CDE76DB04}" presName="parentText" presStyleLbl="node1" presStyleIdx="0" presStyleCnt="1" custLinFactNeighborX="1515" custLinFactNeighborY="-132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FB5E045-C1CA-4664-8071-B0528553BA6A}" type="presOf" srcId="{F937A6A3-F5EF-4D03-95A4-8262B15DFEDD}" destId="{29D887B8-EEA7-42EC-91AD-0AD5690F9732}" srcOrd="0" destOrd="0" presId="urn:microsoft.com/office/officeart/2005/8/layout/vList2"/>
    <dgm:cxn modelId="{82A222BE-B94F-4317-AEED-56133484E94F}" type="presOf" srcId="{6758BDF2-A013-47C8-AF06-600CDE76DB04}" destId="{5560191F-5995-4E1E-B6E5-0454E89CB679}" srcOrd="0" destOrd="0" presId="urn:microsoft.com/office/officeart/2005/8/layout/vList2"/>
    <dgm:cxn modelId="{498DEB58-80BD-49B2-ADA2-7C0C8AC7F59C}" srcId="{F937A6A3-F5EF-4D03-95A4-8262B15DFEDD}" destId="{6758BDF2-A013-47C8-AF06-600CDE76DB04}" srcOrd="0" destOrd="0" parTransId="{5AEB96F5-A112-4346-930B-38A2E17335B0}" sibTransId="{BF4805B4-1551-483D-96B8-7A2FABFCD0D5}"/>
    <dgm:cxn modelId="{F3D759DC-1DF6-4EBA-A20B-36B1B0E4CE81}" type="presParOf" srcId="{29D887B8-EEA7-42EC-91AD-0AD5690F9732}" destId="{5560191F-5995-4E1E-B6E5-0454E89CB67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6B4834-D243-43D3-B7AA-F1B2F51971C8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E0A048-20B7-4108-B671-E43D052E5E5A}">
      <dgm:prSet phldrT="[Text]" custT="1"/>
      <dgm:spPr/>
      <dgm:t>
        <a:bodyPr/>
        <a:lstStyle/>
        <a:p>
          <a:r>
            <a:rPr lang="en-US" sz="1100" dirty="0" smtClean="0"/>
            <a:t>Memory Management </a:t>
          </a:r>
          <a:endParaRPr lang="en-US" sz="1100" dirty="0"/>
        </a:p>
      </dgm:t>
    </dgm:pt>
    <dgm:pt modelId="{A1F58AD5-0A76-4C18-BF90-D78F3762F3D3}" type="parTrans" cxnId="{7BFBD10D-4F8F-4908-94AC-3E845CD71AA2}">
      <dgm:prSet/>
      <dgm:spPr/>
      <dgm:t>
        <a:bodyPr/>
        <a:lstStyle/>
        <a:p>
          <a:endParaRPr lang="en-US"/>
        </a:p>
      </dgm:t>
    </dgm:pt>
    <dgm:pt modelId="{6FC4F981-0731-47C5-A123-4E10423FA50B}" type="sibTrans" cxnId="{7BFBD10D-4F8F-4908-94AC-3E845CD71AA2}">
      <dgm:prSet/>
      <dgm:spPr/>
      <dgm:t>
        <a:bodyPr/>
        <a:lstStyle/>
        <a:p>
          <a:endParaRPr lang="en-US"/>
        </a:p>
      </dgm:t>
    </dgm:pt>
    <dgm:pt modelId="{8C1DBFB2-322F-426D-9075-748120BD624D}">
      <dgm:prSet phldrT="[Text]"/>
      <dgm:spPr/>
      <dgm:t>
        <a:bodyPr/>
        <a:lstStyle/>
        <a:p>
          <a:r>
            <a:rPr lang="en-US" dirty="0" smtClean="0"/>
            <a:t>Buddy System</a:t>
          </a:r>
          <a:endParaRPr lang="en-US" dirty="0"/>
        </a:p>
      </dgm:t>
    </dgm:pt>
    <dgm:pt modelId="{01447DB6-3E9D-4E80-A19F-8668A9E24D21}" type="parTrans" cxnId="{986810C4-0072-437A-A66A-483571330730}">
      <dgm:prSet/>
      <dgm:spPr/>
      <dgm:t>
        <a:bodyPr/>
        <a:lstStyle/>
        <a:p>
          <a:endParaRPr lang="en-US"/>
        </a:p>
      </dgm:t>
    </dgm:pt>
    <dgm:pt modelId="{1AEBE758-6995-4D0B-B3C9-4A627C018CA0}" type="sibTrans" cxnId="{986810C4-0072-437A-A66A-483571330730}">
      <dgm:prSet/>
      <dgm:spPr/>
      <dgm:t>
        <a:bodyPr/>
        <a:lstStyle/>
        <a:p>
          <a:endParaRPr lang="en-US"/>
        </a:p>
      </dgm:t>
    </dgm:pt>
    <dgm:pt modelId="{BAF5DCD5-2AE3-4740-9D4E-E2F6CB383128}">
      <dgm:prSet phldrT="[Text]"/>
      <dgm:spPr/>
      <dgm:t>
        <a:bodyPr/>
        <a:lstStyle/>
        <a:p>
          <a:r>
            <a:rPr lang="en-US" dirty="0" smtClean="0"/>
            <a:t>LRU</a:t>
          </a:r>
          <a:endParaRPr lang="en-US" dirty="0"/>
        </a:p>
      </dgm:t>
    </dgm:pt>
    <dgm:pt modelId="{E286FA02-C4DA-4998-83FC-E2E552B77CDA}" type="parTrans" cxnId="{A2AE62E0-0039-4F17-A5FE-7E1E0A23CE8B}">
      <dgm:prSet/>
      <dgm:spPr/>
      <dgm:t>
        <a:bodyPr/>
        <a:lstStyle/>
        <a:p>
          <a:endParaRPr lang="en-US"/>
        </a:p>
      </dgm:t>
    </dgm:pt>
    <dgm:pt modelId="{D2E04A0C-5016-4873-90F5-42771CA4C2B4}" type="sibTrans" cxnId="{A2AE62E0-0039-4F17-A5FE-7E1E0A23CE8B}">
      <dgm:prSet/>
      <dgm:spPr/>
      <dgm:t>
        <a:bodyPr/>
        <a:lstStyle/>
        <a:p>
          <a:endParaRPr lang="en-US"/>
        </a:p>
      </dgm:t>
    </dgm:pt>
    <dgm:pt modelId="{B4A0071D-B500-44F1-AAC8-E2B504CD7AD8}" type="pres">
      <dgm:prSet presAssocID="{116B4834-D243-43D3-B7AA-F1B2F51971C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A9F5EE1-100B-4010-8E81-F884437A4C53}" type="pres">
      <dgm:prSet presAssocID="{7EE0A048-20B7-4108-B671-E43D052E5E5A}" presName="centerShape" presStyleLbl="node0" presStyleIdx="0" presStyleCnt="1"/>
      <dgm:spPr/>
      <dgm:t>
        <a:bodyPr/>
        <a:lstStyle/>
        <a:p>
          <a:endParaRPr lang="en-US"/>
        </a:p>
      </dgm:t>
    </dgm:pt>
    <dgm:pt modelId="{34B55A89-74DA-4109-A603-93E27CD2EF30}" type="pres">
      <dgm:prSet presAssocID="{01447DB6-3E9D-4E80-A19F-8668A9E24D21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DF88E63-24BE-4528-8F35-301BBF075C44}" type="pres">
      <dgm:prSet presAssocID="{8C1DBFB2-322F-426D-9075-748120BD624D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657F35-32BD-4DA9-A6D4-4EACECE3F9AC}" type="pres">
      <dgm:prSet presAssocID="{E286FA02-C4DA-4998-83FC-E2E552B77CD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7F6307FB-E60E-40B4-B22B-D715E3BD6A5B}" type="pres">
      <dgm:prSet presAssocID="{BAF5DCD5-2AE3-4740-9D4E-E2F6CB383128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FBD10D-4F8F-4908-94AC-3E845CD71AA2}" srcId="{116B4834-D243-43D3-B7AA-F1B2F51971C8}" destId="{7EE0A048-20B7-4108-B671-E43D052E5E5A}" srcOrd="0" destOrd="0" parTransId="{A1F58AD5-0A76-4C18-BF90-D78F3762F3D3}" sibTransId="{6FC4F981-0731-47C5-A123-4E10423FA50B}"/>
    <dgm:cxn modelId="{986810C4-0072-437A-A66A-483571330730}" srcId="{7EE0A048-20B7-4108-B671-E43D052E5E5A}" destId="{8C1DBFB2-322F-426D-9075-748120BD624D}" srcOrd="0" destOrd="0" parTransId="{01447DB6-3E9D-4E80-A19F-8668A9E24D21}" sibTransId="{1AEBE758-6995-4D0B-B3C9-4A627C018CA0}"/>
    <dgm:cxn modelId="{0239968E-31EA-4B9F-A945-1D74396FFC67}" type="presOf" srcId="{7EE0A048-20B7-4108-B671-E43D052E5E5A}" destId="{6A9F5EE1-100B-4010-8E81-F884437A4C53}" srcOrd="0" destOrd="0" presId="urn:microsoft.com/office/officeart/2005/8/layout/radial4"/>
    <dgm:cxn modelId="{B05E392B-A420-40C6-B888-058081DF19C3}" type="presOf" srcId="{8C1DBFB2-322F-426D-9075-748120BD624D}" destId="{ADF88E63-24BE-4528-8F35-301BBF075C44}" srcOrd="0" destOrd="0" presId="urn:microsoft.com/office/officeart/2005/8/layout/radial4"/>
    <dgm:cxn modelId="{12AFEB91-4B01-48A5-A071-E8705AF38B37}" type="presOf" srcId="{E286FA02-C4DA-4998-83FC-E2E552B77CDA}" destId="{11657F35-32BD-4DA9-A6D4-4EACECE3F9AC}" srcOrd="0" destOrd="0" presId="urn:microsoft.com/office/officeart/2005/8/layout/radial4"/>
    <dgm:cxn modelId="{E5A3B6E7-7569-4C63-85A8-66D63FB441DF}" type="presOf" srcId="{116B4834-D243-43D3-B7AA-F1B2F51971C8}" destId="{B4A0071D-B500-44F1-AAC8-E2B504CD7AD8}" srcOrd="0" destOrd="0" presId="urn:microsoft.com/office/officeart/2005/8/layout/radial4"/>
    <dgm:cxn modelId="{269CE77B-072F-4731-81E4-461D85F8AF9D}" type="presOf" srcId="{BAF5DCD5-2AE3-4740-9D4E-E2F6CB383128}" destId="{7F6307FB-E60E-40B4-B22B-D715E3BD6A5B}" srcOrd="0" destOrd="0" presId="urn:microsoft.com/office/officeart/2005/8/layout/radial4"/>
    <dgm:cxn modelId="{A2AE62E0-0039-4F17-A5FE-7E1E0A23CE8B}" srcId="{7EE0A048-20B7-4108-B671-E43D052E5E5A}" destId="{BAF5DCD5-2AE3-4740-9D4E-E2F6CB383128}" srcOrd="1" destOrd="0" parTransId="{E286FA02-C4DA-4998-83FC-E2E552B77CDA}" sibTransId="{D2E04A0C-5016-4873-90F5-42771CA4C2B4}"/>
    <dgm:cxn modelId="{A956E1C6-68BE-4DCD-94C1-C431ED8BFCCD}" type="presOf" srcId="{01447DB6-3E9D-4E80-A19F-8668A9E24D21}" destId="{34B55A89-74DA-4109-A603-93E27CD2EF30}" srcOrd="0" destOrd="0" presId="urn:microsoft.com/office/officeart/2005/8/layout/radial4"/>
    <dgm:cxn modelId="{FBF25DB8-2657-48B3-8B24-5836D82BB31D}" type="presParOf" srcId="{B4A0071D-B500-44F1-AAC8-E2B504CD7AD8}" destId="{6A9F5EE1-100B-4010-8E81-F884437A4C53}" srcOrd="0" destOrd="0" presId="urn:microsoft.com/office/officeart/2005/8/layout/radial4"/>
    <dgm:cxn modelId="{B87A3F7A-5E21-4511-9B29-838750789982}" type="presParOf" srcId="{B4A0071D-B500-44F1-AAC8-E2B504CD7AD8}" destId="{34B55A89-74DA-4109-A603-93E27CD2EF30}" srcOrd="1" destOrd="0" presId="urn:microsoft.com/office/officeart/2005/8/layout/radial4"/>
    <dgm:cxn modelId="{BC62DFDD-6B38-4904-814D-94CCAB76F28E}" type="presParOf" srcId="{B4A0071D-B500-44F1-AAC8-E2B504CD7AD8}" destId="{ADF88E63-24BE-4528-8F35-301BBF075C44}" srcOrd="2" destOrd="0" presId="urn:microsoft.com/office/officeart/2005/8/layout/radial4"/>
    <dgm:cxn modelId="{69F3A0A6-CDB4-4DE8-A37C-77FD8741A476}" type="presParOf" srcId="{B4A0071D-B500-44F1-AAC8-E2B504CD7AD8}" destId="{11657F35-32BD-4DA9-A6D4-4EACECE3F9AC}" srcOrd="3" destOrd="0" presId="urn:microsoft.com/office/officeart/2005/8/layout/radial4"/>
    <dgm:cxn modelId="{5505C0C3-6931-4521-AD57-91112396CEA1}" type="presParOf" srcId="{B4A0071D-B500-44F1-AAC8-E2B504CD7AD8}" destId="{7F6307FB-E60E-40B4-B22B-D715E3BD6A5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41BDB7-DDD5-46F2-AD2B-48CA171E7A7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2E625B-8056-4952-B1A8-959E50D6104B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PRESENTATION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869394DB-5986-4D0B-8ADF-1F9F1155B53B}" type="parTrans" cxnId="{0F7DA718-71B0-41D2-A8DB-2051D72AF9C8}">
      <dgm:prSet/>
      <dgm:spPr/>
      <dgm:t>
        <a:bodyPr/>
        <a:lstStyle/>
        <a:p>
          <a:endParaRPr lang="en-US"/>
        </a:p>
      </dgm:t>
    </dgm:pt>
    <dgm:pt modelId="{85AF09DD-28EF-4A64-86D1-DA87CD35DBFF}" type="sibTrans" cxnId="{0F7DA718-71B0-41D2-A8DB-2051D72AF9C8}">
      <dgm:prSet/>
      <dgm:spPr/>
      <dgm:t>
        <a:bodyPr/>
        <a:lstStyle/>
        <a:p>
          <a:endParaRPr lang="en-US"/>
        </a:p>
      </dgm:t>
    </dgm:pt>
    <dgm:pt modelId="{35F20EE8-B175-46A2-BFC0-CA2DCB507688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BUSINESS LOGIC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346F7BE8-E35F-46F6-9F96-B6B65AEE6D30}" type="parTrans" cxnId="{B6DAFE77-CC4F-4E92-B478-E13C082E4F65}">
      <dgm:prSet/>
      <dgm:spPr/>
      <dgm:t>
        <a:bodyPr/>
        <a:lstStyle/>
        <a:p>
          <a:endParaRPr lang="en-US"/>
        </a:p>
      </dgm:t>
    </dgm:pt>
    <dgm:pt modelId="{1C6E5E62-27F0-448C-B96B-1ABBB9EEEDA9}" type="sibTrans" cxnId="{B6DAFE77-CC4F-4E92-B478-E13C082E4F65}">
      <dgm:prSet/>
      <dgm:spPr/>
      <dgm:t>
        <a:bodyPr/>
        <a:lstStyle/>
        <a:p>
          <a:endParaRPr lang="en-US"/>
        </a:p>
      </dgm:t>
    </dgm:pt>
    <dgm:pt modelId="{053765BC-405D-4979-B88A-18DB4AE80B80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DATA ACCESS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208A7F44-3194-4B07-B213-066715517BD4}" type="parTrans" cxnId="{C0320783-7DD6-426D-9498-168BD3F9F09C}">
      <dgm:prSet/>
      <dgm:spPr/>
      <dgm:t>
        <a:bodyPr/>
        <a:lstStyle/>
        <a:p>
          <a:endParaRPr lang="en-US"/>
        </a:p>
      </dgm:t>
    </dgm:pt>
    <dgm:pt modelId="{7E182C90-7099-41E3-A2D8-B321940382A7}" type="sibTrans" cxnId="{C0320783-7DD6-426D-9498-168BD3F9F09C}">
      <dgm:prSet/>
      <dgm:spPr/>
      <dgm:t>
        <a:bodyPr/>
        <a:lstStyle/>
        <a:p>
          <a:endParaRPr lang="en-US"/>
        </a:p>
      </dgm:t>
    </dgm:pt>
    <dgm:pt modelId="{45E6618D-16D5-419B-AB8B-89C0F3442A2B}" type="pres">
      <dgm:prSet presAssocID="{EF41BDB7-DDD5-46F2-AD2B-48CA171E7A7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EFE397B-9D03-4B34-8813-7FF29FE9CECF}" type="pres">
      <dgm:prSet presAssocID="{EF41BDB7-DDD5-46F2-AD2B-48CA171E7A7C}" presName="Name1" presStyleCnt="0"/>
      <dgm:spPr/>
    </dgm:pt>
    <dgm:pt modelId="{88ADA31A-CBC6-4D57-A0D4-76FBD4E311F5}" type="pres">
      <dgm:prSet presAssocID="{EF41BDB7-DDD5-46F2-AD2B-48CA171E7A7C}" presName="cycle" presStyleCnt="0"/>
      <dgm:spPr/>
    </dgm:pt>
    <dgm:pt modelId="{25A0D326-7C81-413D-B592-8F0C87A23782}" type="pres">
      <dgm:prSet presAssocID="{EF41BDB7-DDD5-46F2-AD2B-48CA171E7A7C}" presName="srcNode" presStyleLbl="node1" presStyleIdx="0" presStyleCnt="3"/>
      <dgm:spPr/>
    </dgm:pt>
    <dgm:pt modelId="{D104D0C0-65BE-4ECE-931E-77C13A99999C}" type="pres">
      <dgm:prSet presAssocID="{EF41BDB7-DDD5-46F2-AD2B-48CA171E7A7C}" presName="conn" presStyleLbl="parChTrans1D2" presStyleIdx="0" presStyleCnt="1"/>
      <dgm:spPr/>
      <dgm:t>
        <a:bodyPr/>
        <a:lstStyle/>
        <a:p>
          <a:endParaRPr lang="en-US"/>
        </a:p>
      </dgm:t>
    </dgm:pt>
    <dgm:pt modelId="{22F7BD8A-7541-46CF-920D-66A136EE55E7}" type="pres">
      <dgm:prSet presAssocID="{EF41BDB7-DDD5-46F2-AD2B-48CA171E7A7C}" presName="extraNode" presStyleLbl="node1" presStyleIdx="0" presStyleCnt="3"/>
      <dgm:spPr/>
    </dgm:pt>
    <dgm:pt modelId="{9A51BBDC-C5DD-4770-8AE1-B678AE18917C}" type="pres">
      <dgm:prSet presAssocID="{EF41BDB7-DDD5-46F2-AD2B-48CA171E7A7C}" presName="dstNode" presStyleLbl="node1" presStyleIdx="0" presStyleCnt="3"/>
      <dgm:spPr/>
    </dgm:pt>
    <dgm:pt modelId="{8DB0A41B-13B6-4D41-BA9A-B866E3467B52}" type="pres">
      <dgm:prSet presAssocID="{1C2E625B-8056-4952-B1A8-959E50D6104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F8486-D392-432F-9C27-2481C17B75B5}" type="pres">
      <dgm:prSet presAssocID="{1C2E625B-8056-4952-B1A8-959E50D6104B}" presName="accent_1" presStyleCnt="0"/>
      <dgm:spPr/>
    </dgm:pt>
    <dgm:pt modelId="{2809824C-C96F-4220-97AC-0B8950352ED2}" type="pres">
      <dgm:prSet presAssocID="{1C2E625B-8056-4952-B1A8-959E50D6104B}" presName="accentRepeatNode" presStyleLbl="solidFgAcc1" presStyleIdx="0" presStyleCnt="3"/>
      <dgm:spPr>
        <a:solidFill>
          <a:schemeClr val="bg1">
            <a:lumMod val="85000"/>
          </a:schemeClr>
        </a:solidFill>
      </dgm:spPr>
    </dgm:pt>
    <dgm:pt modelId="{745693F0-6E54-42C8-9E78-3CBC2BAE04A9}" type="pres">
      <dgm:prSet presAssocID="{35F20EE8-B175-46A2-BFC0-CA2DCB50768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175E4-2CAE-4358-BDC8-48AF5B346FEC}" type="pres">
      <dgm:prSet presAssocID="{35F20EE8-B175-46A2-BFC0-CA2DCB507688}" presName="accent_2" presStyleCnt="0"/>
      <dgm:spPr/>
    </dgm:pt>
    <dgm:pt modelId="{690650B8-33BF-4D03-BD7A-B62C3563ECC4}" type="pres">
      <dgm:prSet presAssocID="{35F20EE8-B175-46A2-BFC0-CA2DCB507688}" presName="accentRepeatNode" presStyleLbl="solidFgAcc1" presStyleIdx="1" presStyleCnt="3" custLinFactNeighborX="3676" custLinFactNeighborY="-4615"/>
      <dgm:spPr>
        <a:solidFill>
          <a:schemeClr val="bg1">
            <a:lumMod val="85000"/>
          </a:schemeClr>
        </a:solidFill>
      </dgm:spPr>
    </dgm:pt>
    <dgm:pt modelId="{ADD0751A-AC2C-4901-961C-CF485729D4DA}" type="pres">
      <dgm:prSet presAssocID="{053765BC-405D-4979-B88A-18DB4AE80B80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0AE2F2-B615-49B6-A723-3F73F10A962E}" type="pres">
      <dgm:prSet presAssocID="{053765BC-405D-4979-B88A-18DB4AE80B80}" presName="accent_3" presStyleCnt="0"/>
      <dgm:spPr/>
    </dgm:pt>
    <dgm:pt modelId="{2CD20459-9E8D-4304-80AF-1C42F5DF85D8}" type="pres">
      <dgm:prSet presAssocID="{053765BC-405D-4979-B88A-18DB4AE80B80}" presName="accentRepeatNode" presStyleLbl="solidFgAcc1" presStyleIdx="2" presStyleCnt="3" custLinFactNeighborX="11239" custLinFactNeighborY="-3333"/>
      <dgm:spPr>
        <a:solidFill>
          <a:schemeClr val="bg1">
            <a:lumMod val="85000"/>
          </a:schemeClr>
        </a:solidFill>
      </dgm:spPr>
    </dgm:pt>
  </dgm:ptLst>
  <dgm:cxnLst>
    <dgm:cxn modelId="{C9F6A461-7D07-4042-968F-491350117D56}" type="presOf" srcId="{1C2E625B-8056-4952-B1A8-959E50D6104B}" destId="{8DB0A41B-13B6-4D41-BA9A-B866E3467B52}" srcOrd="0" destOrd="0" presId="urn:microsoft.com/office/officeart/2008/layout/VerticalCurvedList"/>
    <dgm:cxn modelId="{5E37CB29-3DC2-4707-A7BA-D783F26BA840}" type="presOf" srcId="{85AF09DD-28EF-4A64-86D1-DA87CD35DBFF}" destId="{D104D0C0-65BE-4ECE-931E-77C13A99999C}" srcOrd="0" destOrd="0" presId="urn:microsoft.com/office/officeart/2008/layout/VerticalCurvedList"/>
    <dgm:cxn modelId="{4F3F0AF4-CE52-4378-91B1-DE8AE4AF296E}" type="presOf" srcId="{EF41BDB7-DDD5-46F2-AD2B-48CA171E7A7C}" destId="{45E6618D-16D5-419B-AB8B-89C0F3442A2B}" srcOrd="0" destOrd="0" presId="urn:microsoft.com/office/officeart/2008/layout/VerticalCurvedList"/>
    <dgm:cxn modelId="{B6DAFE77-CC4F-4E92-B478-E13C082E4F65}" srcId="{EF41BDB7-DDD5-46F2-AD2B-48CA171E7A7C}" destId="{35F20EE8-B175-46A2-BFC0-CA2DCB507688}" srcOrd="1" destOrd="0" parTransId="{346F7BE8-E35F-46F6-9F96-B6B65AEE6D30}" sibTransId="{1C6E5E62-27F0-448C-B96B-1ABBB9EEEDA9}"/>
    <dgm:cxn modelId="{71E414E6-375D-4CC1-88CF-9C411216DDE3}" type="presOf" srcId="{053765BC-405D-4979-B88A-18DB4AE80B80}" destId="{ADD0751A-AC2C-4901-961C-CF485729D4DA}" srcOrd="0" destOrd="0" presId="urn:microsoft.com/office/officeart/2008/layout/VerticalCurvedList"/>
    <dgm:cxn modelId="{0F7DA718-71B0-41D2-A8DB-2051D72AF9C8}" srcId="{EF41BDB7-DDD5-46F2-AD2B-48CA171E7A7C}" destId="{1C2E625B-8056-4952-B1A8-959E50D6104B}" srcOrd="0" destOrd="0" parTransId="{869394DB-5986-4D0B-8ADF-1F9F1155B53B}" sibTransId="{85AF09DD-28EF-4A64-86D1-DA87CD35DBFF}"/>
    <dgm:cxn modelId="{C0320783-7DD6-426D-9498-168BD3F9F09C}" srcId="{EF41BDB7-DDD5-46F2-AD2B-48CA171E7A7C}" destId="{053765BC-405D-4979-B88A-18DB4AE80B80}" srcOrd="2" destOrd="0" parTransId="{208A7F44-3194-4B07-B213-066715517BD4}" sibTransId="{7E182C90-7099-41E3-A2D8-B321940382A7}"/>
    <dgm:cxn modelId="{04DAA0CB-755D-4BA8-8BE4-E885D3E0DF41}" type="presOf" srcId="{35F20EE8-B175-46A2-BFC0-CA2DCB507688}" destId="{745693F0-6E54-42C8-9E78-3CBC2BAE04A9}" srcOrd="0" destOrd="0" presId="urn:microsoft.com/office/officeart/2008/layout/VerticalCurvedList"/>
    <dgm:cxn modelId="{F6A78155-46FD-4417-9412-8849E471BE42}" type="presParOf" srcId="{45E6618D-16D5-419B-AB8B-89C0F3442A2B}" destId="{1EFE397B-9D03-4B34-8813-7FF29FE9CECF}" srcOrd="0" destOrd="0" presId="urn:microsoft.com/office/officeart/2008/layout/VerticalCurvedList"/>
    <dgm:cxn modelId="{79B32D9C-D18D-4B8D-AED5-52C13B2FCCED}" type="presParOf" srcId="{1EFE397B-9D03-4B34-8813-7FF29FE9CECF}" destId="{88ADA31A-CBC6-4D57-A0D4-76FBD4E311F5}" srcOrd="0" destOrd="0" presId="urn:microsoft.com/office/officeart/2008/layout/VerticalCurvedList"/>
    <dgm:cxn modelId="{F292A2BA-1F02-4C09-ACC3-F32E72D49BC9}" type="presParOf" srcId="{88ADA31A-CBC6-4D57-A0D4-76FBD4E311F5}" destId="{25A0D326-7C81-413D-B592-8F0C87A23782}" srcOrd="0" destOrd="0" presId="urn:microsoft.com/office/officeart/2008/layout/VerticalCurvedList"/>
    <dgm:cxn modelId="{03273168-5661-498D-AF7D-318CD0541B5A}" type="presParOf" srcId="{88ADA31A-CBC6-4D57-A0D4-76FBD4E311F5}" destId="{D104D0C0-65BE-4ECE-931E-77C13A99999C}" srcOrd="1" destOrd="0" presId="urn:microsoft.com/office/officeart/2008/layout/VerticalCurvedList"/>
    <dgm:cxn modelId="{F46CAE1C-FD92-4425-AEB7-0BA52EEAC717}" type="presParOf" srcId="{88ADA31A-CBC6-4D57-A0D4-76FBD4E311F5}" destId="{22F7BD8A-7541-46CF-920D-66A136EE55E7}" srcOrd="2" destOrd="0" presId="urn:microsoft.com/office/officeart/2008/layout/VerticalCurvedList"/>
    <dgm:cxn modelId="{E771809E-DEDD-403B-B7A5-47212A7B7674}" type="presParOf" srcId="{88ADA31A-CBC6-4D57-A0D4-76FBD4E311F5}" destId="{9A51BBDC-C5DD-4770-8AE1-B678AE18917C}" srcOrd="3" destOrd="0" presId="urn:microsoft.com/office/officeart/2008/layout/VerticalCurvedList"/>
    <dgm:cxn modelId="{AB7CAE36-3227-4937-A7E5-93AFBF14B051}" type="presParOf" srcId="{1EFE397B-9D03-4B34-8813-7FF29FE9CECF}" destId="{8DB0A41B-13B6-4D41-BA9A-B866E3467B52}" srcOrd="1" destOrd="0" presId="urn:microsoft.com/office/officeart/2008/layout/VerticalCurvedList"/>
    <dgm:cxn modelId="{A3B23D8F-AAA2-42AB-96C4-28E513062800}" type="presParOf" srcId="{1EFE397B-9D03-4B34-8813-7FF29FE9CECF}" destId="{2DEF8486-D392-432F-9C27-2481C17B75B5}" srcOrd="2" destOrd="0" presId="urn:microsoft.com/office/officeart/2008/layout/VerticalCurvedList"/>
    <dgm:cxn modelId="{6EE999AB-676C-4E3C-AA07-29276E1AF7E9}" type="presParOf" srcId="{2DEF8486-D392-432F-9C27-2481C17B75B5}" destId="{2809824C-C96F-4220-97AC-0B8950352ED2}" srcOrd="0" destOrd="0" presId="urn:microsoft.com/office/officeart/2008/layout/VerticalCurvedList"/>
    <dgm:cxn modelId="{92E12B3A-4DFA-4A15-937D-AAE2C9836222}" type="presParOf" srcId="{1EFE397B-9D03-4B34-8813-7FF29FE9CECF}" destId="{745693F0-6E54-42C8-9E78-3CBC2BAE04A9}" srcOrd="3" destOrd="0" presId="urn:microsoft.com/office/officeart/2008/layout/VerticalCurvedList"/>
    <dgm:cxn modelId="{39F079B4-6B07-4631-A12D-D0DE274B9480}" type="presParOf" srcId="{1EFE397B-9D03-4B34-8813-7FF29FE9CECF}" destId="{FFC175E4-2CAE-4358-BDC8-48AF5B346FEC}" srcOrd="4" destOrd="0" presId="urn:microsoft.com/office/officeart/2008/layout/VerticalCurvedList"/>
    <dgm:cxn modelId="{78E344FD-0101-4FB6-BB06-429908597828}" type="presParOf" srcId="{FFC175E4-2CAE-4358-BDC8-48AF5B346FEC}" destId="{690650B8-33BF-4D03-BD7A-B62C3563ECC4}" srcOrd="0" destOrd="0" presId="urn:microsoft.com/office/officeart/2008/layout/VerticalCurvedList"/>
    <dgm:cxn modelId="{D3E22EFD-5061-4500-B8CC-E99935818DB7}" type="presParOf" srcId="{1EFE397B-9D03-4B34-8813-7FF29FE9CECF}" destId="{ADD0751A-AC2C-4901-961C-CF485729D4DA}" srcOrd="5" destOrd="0" presId="urn:microsoft.com/office/officeart/2008/layout/VerticalCurvedList"/>
    <dgm:cxn modelId="{D46A8636-573E-407A-B08F-A1852867A794}" type="presParOf" srcId="{1EFE397B-9D03-4B34-8813-7FF29FE9CECF}" destId="{590AE2F2-B615-49B6-A723-3F73F10A962E}" srcOrd="6" destOrd="0" presId="urn:microsoft.com/office/officeart/2008/layout/VerticalCurvedList"/>
    <dgm:cxn modelId="{646E44EE-3E79-4624-A574-B36EB5A98B25}" type="presParOf" srcId="{590AE2F2-B615-49B6-A723-3F73F10A962E}" destId="{2CD20459-9E8D-4304-80AF-1C42F5DF85D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7261DAB-CFDF-44F2-8744-4050D5F521E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22ADEBB-503E-486B-A406-EC417B576112}">
      <dgm:prSet/>
      <dgm:spPr/>
      <dgm:t>
        <a:bodyPr/>
        <a:lstStyle/>
        <a:p>
          <a:pPr rtl="0"/>
          <a:r>
            <a:rPr lang="en-US" dirty="0" smtClean="0"/>
            <a:t>Flat file based database management systems</a:t>
          </a:r>
          <a:endParaRPr lang="en-US" dirty="0"/>
        </a:p>
      </dgm:t>
    </dgm:pt>
    <dgm:pt modelId="{D0E88F17-11F1-42DE-926B-A75302296221}" type="parTrans" cxnId="{520ECD11-0867-4483-B49A-DC5A58E16437}">
      <dgm:prSet/>
      <dgm:spPr/>
      <dgm:t>
        <a:bodyPr/>
        <a:lstStyle/>
        <a:p>
          <a:endParaRPr lang="en-US"/>
        </a:p>
      </dgm:t>
    </dgm:pt>
    <dgm:pt modelId="{1A4B5FF4-35F9-473B-96B7-E49E6DA282DB}" type="sibTrans" cxnId="{520ECD11-0867-4483-B49A-DC5A58E16437}">
      <dgm:prSet/>
      <dgm:spPr/>
      <dgm:t>
        <a:bodyPr/>
        <a:lstStyle/>
        <a:p>
          <a:endParaRPr lang="en-US"/>
        </a:p>
      </dgm:t>
    </dgm:pt>
    <dgm:pt modelId="{7E5A1F82-D754-498B-A9D1-ABC99C13265F}" type="pres">
      <dgm:prSet presAssocID="{E7261DAB-CFDF-44F2-8744-4050D5F521E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A947C43-33ED-4FAD-A699-B587B8257B30}" type="pres">
      <dgm:prSet presAssocID="{F22ADEBB-503E-486B-A406-EC417B57611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0ECD11-0867-4483-B49A-DC5A58E16437}" srcId="{E7261DAB-CFDF-44F2-8744-4050D5F521ED}" destId="{F22ADEBB-503E-486B-A406-EC417B576112}" srcOrd="0" destOrd="0" parTransId="{D0E88F17-11F1-42DE-926B-A75302296221}" sibTransId="{1A4B5FF4-35F9-473B-96B7-E49E6DA282DB}"/>
    <dgm:cxn modelId="{1D1231A9-1277-4992-8539-52C4F54B6A27}" type="presOf" srcId="{F22ADEBB-503E-486B-A406-EC417B576112}" destId="{3A947C43-33ED-4FAD-A699-B587B8257B30}" srcOrd="0" destOrd="0" presId="urn:microsoft.com/office/officeart/2005/8/layout/vList2"/>
    <dgm:cxn modelId="{AD97D55D-4135-4081-AB60-7EE88D4498FB}" type="presOf" srcId="{E7261DAB-CFDF-44F2-8744-4050D5F521ED}" destId="{7E5A1F82-D754-498B-A9D1-ABC99C13265F}" srcOrd="0" destOrd="0" presId="urn:microsoft.com/office/officeart/2005/8/layout/vList2"/>
    <dgm:cxn modelId="{9890DE18-518B-4F52-BF3C-6B18DE7C3AF2}" type="presParOf" srcId="{7E5A1F82-D754-498B-A9D1-ABC99C13265F}" destId="{3A947C43-33ED-4FAD-A699-B587B8257B3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A6ABC09-CC00-44EE-9803-046DF5A959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7D5D167-5C47-4E47-9A9E-41218E52ACCF}">
      <dgm:prSet/>
      <dgm:spPr/>
      <dgm:t>
        <a:bodyPr/>
        <a:lstStyle/>
        <a:p>
          <a:pPr rtl="0"/>
          <a:r>
            <a:rPr lang="en-US" dirty="0" smtClean="0"/>
            <a:t>Hierarchical database management systems</a:t>
          </a:r>
          <a:endParaRPr lang="en-US" dirty="0"/>
        </a:p>
      </dgm:t>
    </dgm:pt>
    <dgm:pt modelId="{03393185-88D8-4014-A4C9-CA24F370DEDB}" type="parTrans" cxnId="{9EFFDCF3-57F2-4712-8F4D-A698EA28CD5C}">
      <dgm:prSet/>
      <dgm:spPr/>
      <dgm:t>
        <a:bodyPr/>
        <a:lstStyle/>
        <a:p>
          <a:endParaRPr lang="en-US"/>
        </a:p>
      </dgm:t>
    </dgm:pt>
    <dgm:pt modelId="{11F0E398-C4A1-463F-8791-5566EA624F68}" type="sibTrans" cxnId="{9EFFDCF3-57F2-4712-8F4D-A698EA28CD5C}">
      <dgm:prSet/>
      <dgm:spPr/>
      <dgm:t>
        <a:bodyPr/>
        <a:lstStyle/>
        <a:p>
          <a:endParaRPr lang="en-US"/>
        </a:p>
      </dgm:t>
    </dgm:pt>
    <dgm:pt modelId="{3E67288C-FE30-4ADC-A197-B16219026635}" type="pres">
      <dgm:prSet presAssocID="{3A6ABC09-CC00-44EE-9803-046DF5A959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F07ACC1-270D-4385-AEEF-FDA861B7A845}" type="pres">
      <dgm:prSet presAssocID="{47D5D167-5C47-4E47-9A9E-41218E52ACCF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4CE6F2-29C1-4ACE-B507-D3716B61F582}" type="presOf" srcId="{47D5D167-5C47-4E47-9A9E-41218E52ACCF}" destId="{FF07ACC1-270D-4385-AEEF-FDA861B7A845}" srcOrd="0" destOrd="0" presId="urn:microsoft.com/office/officeart/2005/8/layout/vList2"/>
    <dgm:cxn modelId="{20D242F0-1C1E-49CA-9559-FB05CDE2709B}" type="presOf" srcId="{3A6ABC09-CC00-44EE-9803-046DF5A95958}" destId="{3E67288C-FE30-4ADC-A197-B16219026635}" srcOrd="0" destOrd="0" presId="urn:microsoft.com/office/officeart/2005/8/layout/vList2"/>
    <dgm:cxn modelId="{9EFFDCF3-57F2-4712-8F4D-A698EA28CD5C}" srcId="{3A6ABC09-CC00-44EE-9803-046DF5A95958}" destId="{47D5D167-5C47-4E47-9A9E-41218E52ACCF}" srcOrd="0" destOrd="0" parTransId="{03393185-88D8-4014-A4C9-CA24F370DEDB}" sibTransId="{11F0E398-C4A1-463F-8791-5566EA624F68}"/>
    <dgm:cxn modelId="{A3F408DA-8F91-461F-8B5B-58DE96A06C4A}" type="presParOf" srcId="{3E67288C-FE30-4ADC-A197-B16219026635}" destId="{FF07ACC1-270D-4385-AEEF-FDA861B7A84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CFFA45A-C5CE-444E-944D-B0CE6AB2B5D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217C0EB-9306-42DE-B345-B6778F440173}">
      <dgm:prSet/>
      <dgm:spPr/>
      <dgm:t>
        <a:bodyPr/>
        <a:lstStyle/>
        <a:p>
          <a:pPr rtl="0"/>
          <a:r>
            <a:rPr lang="en-US" dirty="0" smtClean="0"/>
            <a:t>Network database management systems</a:t>
          </a:r>
          <a:endParaRPr lang="en-US" dirty="0"/>
        </a:p>
      </dgm:t>
    </dgm:pt>
    <dgm:pt modelId="{077904F5-9FD2-495C-B8BA-D8E60A664D99}" type="parTrans" cxnId="{8B6E6C9D-BEE2-4939-AA88-076B35BBCC73}">
      <dgm:prSet/>
      <dgm:spPr/>
      <dgm:t>
        <a:bodyPr/>
        <a:lstStyle/>
        <a:p>
          <a:endParaRPr lang="en-US"/>
        </a:p>
      </dgm:t>
    </dgm:pt>
    <dgm:pt modelId="{AF449A45-EB12-4D74-9EDF-E20D1387C58B}" type="sibTrans" cxnId="{8B6E6C9D-BEE2-4939-AA88-076B35BBCC73}">
      <dgm:prSet/>
      <dgm:spPr/>
      <dgm:t>
        <a:bodyPr/>
        <a:lstStyle/>
        <a:p>
          <a:endParaRPr lang="en-US"/>
        </a:p>
      </dgm:t>
    </dgm:pt>
    <dgm:pt modelId="{ADACEF2B-E4D3-43C5-9D7A-2FB735072280}" type="pres">
      <dgm:prSet presAssocID="{6CFFA45A-C5CE-444E-944D-B0CE6AB2B5D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AB1CEB-B4F6-4275-8D31-7399E09EB115}" type="pres">
      <dgm:prSet presAssocID="{0217C0EB-9306-42DE-B345-B6778F440173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733CC6F-1D84-424A-A25E-5D6AB0C08EEC}" type="presOf" srcId="{0217C0EB-9306-42DE-B345-B6778F440173}" destId="{61AB1CEB-B4F6-4275-8D31-7399E09EB115}" srcOrd="0" destOrd="0" presId="urn:microsoft.com/office/officeart/2005/8/layout/vList2"/>
    <dgm:cxn modelId="{BD86F98A-603B-45EE-8DA2-FE9388FD601E}" type="presOf" srcId="{6CFFA45A-C5CE-444E-944D-B0CE6AB2B5DC}" destId="{ADACEF2B-E4D3-43C5-9D7A-2FB735072280}" srcOrd="0" destOrd="0" presId="urn:microsoft.com/office/officeart/2005/8/layout/vList2"/>
    <dgm:cxn modelId="{8B6E6C9D-BEE2-4939-AA88-076B35BBCC73}" srcId="{6CFFA45A-C5CE-444E-944D-B0CE6AB2B5DC}" destId="{0217C0EB-9306-42DE-B345-B6778F440173}" srcOrd="0" destOrd="0" parTransId="{077904F5-9FD2-495C-B8BA-D8E60A664D99}" sibTransId="{AF449A45-EB12-4D74-9EDF-E20D1387C58B}"/>
    <dgm:cxn modelId="{2FEF7959-A813-45EC-870A-0F9C8DAA7C62}" type="presParOf" srcId="{ADACEF2B-E4D3-43C5-9D7A-2FB735072280}" destId="{61AB1CEB-B4F6-4275-8D31-7399E09EB11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91EA7C5-EEE0-4098-8779-7256F04A34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4B0B150-2B28-48E4-8A63-D9D7031FB667}">
      <dgm:prSet/>
      <dgm:spPr/>
      <dgm:t>
        <a:bodyPr/>
        <a:lstStyle/>
        <a:p>
          <a:pPr rtl="0"/>
          <a:r>
            <a:rPr lang="en-US" dirty="0" smtClean="0"/>
            <a:t>Object oriented database management systems</a:t>
          </a:r>
          <a:endParaRPr lang="en-US" dirty="0"/>
        </a:p>
      </dgm:t>
    </dgm:pt>
    <dgm:pt modelId="{AF6FB5C5-B4FF-4F1C-B110-284D406A83FA}" type="parTrans" cxnId="{1F1D6E43-0B99-4A25-96C0-59E18EF2A323}">
      <dgm:prSet/>
      <dgm:spPr/>
      <dgm:t>
        <a:bodyPr/>
        <a:lstStyle/>
        <a:p>
          <a:endParaRPr lang="en-US"/>
        </a:p>
      </dgm:t>
    </dgm:pt>
    <dgm:pt modelId="{409658F5-202C-42E2-B244-84B666540B6B}" type="sibTrans" cxnId="{1F1D6E43-0B99-4A25-96C0-59E18EF2A323}">
      <dgm:prSet/>
      <dgm:spPr/>
      <dgm:t>
        <a:bodyPr/>
        <a:lstStyle/>
        <a:p>
          <a:endParaRPr lang="en-US"/>
        </a:p>
      </dgm:t>
    </dgm:pt>
    <dgm:pt modelId="{276930E7-C2DA-4391-9C21-78D4B4A402AA}" type="pres">
      <dgm:prSet presAssocID="{891EA7C5-EEE0-4098-8779-7256F04A34D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621784B-069A-4A22-84A9-3BB43E1CBB1A}" type="pres">
      <dgm:prSet presAssocID="{14B0B150-2B28-48E4-8A63-D9D7031FB667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F1D6E43-0B99-4A25-96C0-59E18EF2A323}" srcId="{891EA7C5-EEE0-4098-8779-7256F04A34D7}" destId="{14B0B150-2B28-48E4-8A63-D9D7031FB667}" srcOrd="0" destOrd="0" parTransId="{AF6FB5C5-B4FF-4F1C-B110-284D406A83FA}" sibTransId="{409658F5-202C-42E2-B244-84B666540B6B}"/>
    <dgm:cxn modelId="{2AE469C2-23F2-40AE-8B32-7CA6160591B5}" type="presOf" srcId="{14B0B150-2B28-48E4-8A63-D9D7031FB667}" destId="{1621784B-069A-4A22-84A9-3BB43E1CBB1A}" srcOrd="0" destOrd="0" presId="urn:microsoft.com/office/officeart/2005/8/layout/vList2"/>
    <dgm:cxn modelId="{F0A80712-BAAF-49C5-81B9-388B25D12A34}" type="presOf" srcId="{891EA7C5-EEE0-4098-8779-7256F04A34D7}" destId="{276930E7-C2DA-4391-9C21-78D4B4A402AA}" srcOrd="0" destOrd="0" presId="urn:microsoft.com/office/officeart/2005/8/layout/vList2"/>
    <dgm:cxn modelId="{57837F20-38B5-4601-B3F1-2E9C21992377}" type="presParOf" srcId="{276930E7-C2DA-4391-9C21-78D4B4A402AA}" destId="{1621784B-069A-4A22-84A9-3BB43E1CBB1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4E04ACC-36BE-4044-9D57-386763EECD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201D69A-3A23-4C63-B59F-74DDC39E8A8D}">
      <dgm:prSet/>
      <dgm:spPr/>
      <dgm:t>
        <a:bodyPr/>
        <a:lstStyle/>
        <a:p>
          <a:pPr rtl="0"/>
          <a:r>
            <a:rPr lang="en-US" dirty="0" smtClean="0"/>
            <a:t>Relational database management systems</a:t>
          </a:r>
          <a:endParaRPr lang="en-US" dirty="0"/>
        </a:p>
      </dgm:t>
    </dgm:pt>
    <dgm:pt modelId="{8D45BA16-1D19-4B2A-ABD3-CB868C424E4E}" type="parTrans" cxnId="{D2C82EF8-20B8-4A48-8884-0E223BAEAFEE}">
      <dgm:prSet/>
      <dgm:spPr/>
      <dgm:t>
        <a:bodyPr/>
        <a:lstStyle/>
        <a:p>
          <a:endParaRPr lang="en-US"/>
        </a:p>
      </dgm:t>
    </dgm:pt>
    <dgm:pt modelId="{5B8E848A-2041-4360-97B2-0E1AF0BEEE6D}" type="sibTrans" cxnId="{D2C82EF8-20B8-4A48-8884-0E223BAEAFEE}">
      <dgm:prSet/>
      <dgm:spPr/>
      <dgm:t>
        <a:bodyPr/>
        <a:lstStyle/>
        <a:p>
          <a:endParaRPr lang="en-US"/>
        </a:p>
      </dgm:t>
    </dgm:pt>
    <dgm:pt modelId="{79E7C00C-0C20-406A-84A3-AECA489B066B}" type="pres">
      <dgm:prSet presAssocID="{D4E04ACC-36BE-4044-9D57-386763EECD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BE58174-EEBB-4C39-A14C-E90F314FD54C}" type="pres">
      <dgm:prSet presAssocID="{6201D69A-3A23-4C63-B59F-74DDC39E8A8D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F0BBA5-85FF-45A1-A260-FA12BF3BB661}" type="presOf" srcId="{6201D69A-3A23-4C63-B59F-74DDC39E8A8D}" destId="{CBE58174-EEBB-4C39-A14C-E90F314FD54C}" srcOrd="0" destOrd="0" presId="urn:microsoft.com/office/officeart/2005/8/layout/vList2"/>
    <dgm:cxn modelId="{D2C82EF8-20B8-4A48-8884-0E223BAEAFEE}" srcId="{D4E04ACC-36BE-4044-9D57-386763EECD53}" destId="{6201D69A-3A23-4C63-B59F-74DDC39E8A8D}" srcOrd="0" destOrd="0" parTransId="{8D45BA16-1D19-4B2A-ABD3-CB868C424E4E}" sibTransId="{5B8E848A-2041-4360-97B2-0E1AF0BEEE6D}"/>
    <dgm:cxn modelId="{E45A8192-C88D-43AA-BB41-BAE9A4092D4B}" type="presOf" srcId="{D4E04ACC-36BE-4044-9D57-386763EECD53}" destId="{79E7C00C-0C20-406A-84A3-AECA489B066B}" srcOrd="0" destOrd="0" presId="urn:microsoft.com/office/officeart/2005/8/layout/vList2"/>
    <dgm:cxn modelId="{77EE160C-902D-4221-9B25-D1FE2FC6D5D9}" type="presParOf" srcId="{79E7C00C-0C20-406A-84A3-AECA489B066B}" destId="{CBE58174-EEBB-4C39-A14C-E90F314FD54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8/04/2018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8/04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6616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923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094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54812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77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xmlns="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xmlns="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1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" y="2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" y="2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3" y="1495447"/>
            <a:ext cx="11813715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77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AF4F1FB-F58A-402C-B9C9-1F90694A5B9C}" type="datetimeFigureOut">
              <a:rPr lang="en-US" smtClean="0"/>
              <a:t>4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815F728-0559-4C80-AFBF-96427A0438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02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534953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B10E92A-A728-4C77-8191-62741A338FCB}" type="datetimeFigureOut">
              <a:rPr lang="en-US" smtClean="0"/>
              <a:t>4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BAD677-CDED-453D-A17F-05E15E662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00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B987D8C-64E0-4D2B-9951-A57E1E3413AC}" type="datetimeFigureOut">
              <a:rPr lang="en-IN" smtClean="0"/>
              <a:t>08-04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1118F4-6E95-4522-8A42-C9A8A06693A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61603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66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pic>
        <p:nvPicPr>
          <p:cNvPr id="10" name="Picture 9" descr="Our_Universcity_Logotype-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7368" y="1196752"/>
            <a:ext cx="2232248" cy="53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9402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4634" userDrawn="1">
          <p15:clr>
            <a:srgbClr val="FBAE40"/>
          </p15:clr>
        </p15:guide>
        <p15:guide id="3" pos="7219" userDrawn="1">
          <p15:clr>
            <a:srgbClr val="FBAE40"/>
          </p15:clr>
        </p15:guide>
        <p15:guide id="4" orient="horz" pos="2614" userDrawn="1">
          <p15:clr>
            <a:srgbClr val="FBAE40"/>
          </p15:clr>
        </p15:guide>
        <p15:guide id="5" orient="horz" pos="3203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9"/>
          <p:cNvSpPr>
            <a:spLocks/>
          </p:cNvSpPr>
          <p:nvPr userDrawn="1"/>
        </p:nvSpPr>
        <p:spPr bwMode="auto">
          <a:xfrm>
            <a:off x="-312712" y="0"/>
            <a:ext cx="8760296" cy="8102938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4 h 1514"/>
              <a:gd name="T4" fmla="*/ 763 w 1637"/>
              <a:gd name="T5" fmla="*/ 1046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4"/>
                </a:cubicBezTo>
                <a:cubicBezTo>
                  <a:pt x="840" y="663"/>
                  <a:pt x="594" y="755"/>
                  <a:pt x="763" y="1046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>
            <a:extLst>
              <a:ext uri="{FF2B5EF4-FFF2-40B4-BE49-F238E27FC236}">
                <a16:creationId xmlns:a16="http://schemas.microsoft.com/office/drawing/2014/main" xmlns="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xmlns="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xmlns="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xmlns="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6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664335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5831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75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1" r:id="rId2"/>
    <p:sldLayoutId id="2147483720" r:id="rId3"/>
  </p:sldLayoutIdLst>
  <p:hf sldNum="0"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22" r:id="rId2"/>
    <p:sldLayoutId id="2147483672" r:id="rId3"/>
    <p:sldLayoutId id="2147483811" r:id="rId4"/>
    <p:sldLayoutId id="2147483781" r:id="rId5"/>
    <p:sldLayoutId id="2147483780" r:id="rId6"/>
    <p:sldLayoutId id="2147483734" r:id="rId7"/>
    <p:sldLayoutId id="2147483735" r:id="rId8"/>
    <p:sldLayoutId id="2147483812" r:id="rId9"/>
    <p:sldLayoutId id="2147483813" r:id="rId10"/>
    <p:sldLayoutId id="2147483815" r:id="rId11"/>
    <p:sldLayoutId id="2147483816" r:id="rId12"/>
    <p:sldLayoutId id="214748381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3212078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5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microsoft.com/office/2007/relationships/diagramDrawing" Target="../diagrams/drawing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63.png"/><Relationship Id="rId12" Type="http://schemas.openxmlformats.org/officeDocument/2006/relationships/diagramColors" Target="../diagrams/colors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11" Type="http://schemas.openxmlformats.org/officeDocument/2006/relationships/diagramQuickStyle" Target="../diagrams/quickStyle3.xml"/><Relationship Id="rId5" Type="http://schemas.openxmlformats.org/officeDocument/2006/relationships/diagramColors" Target="../diagrams/colors2.xml"/><Relationship Id="rId10" Type="http://schemas.openxmlformats.org/officeDocument/2006/relationships/diagramLayout" Target="../diagrams/layout3.xml"/><Relationship Id="rId4" Type="http://schemas.openxmlformats.org/officeDocument/2006/relationships/diagramQuickStyle" Target="../diagrams/quickStyle2.xml"/><Relationship Id="rId9" Type="http://schemas.openxmlformats.org/officeDocument/2006/relationships/diagramData" Target="../diagrams/data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5.gif"/><Relationship Id="rId7" Type="http://schemas.openxmlformats.org/officeDocument/2006/relationships/image" Target="../media/image6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5.jpg"/><Relationship Id="rId5" Type="http://schemas.openxmlformats.org/officeDocument/2006/relationships/image" Target="../media/image74.png"/><Relationship Id="rId4" Type="http://schemas.openxmlformats.org/officeDocument/2006/relationships/image" Target="../media/image73.jfi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diagramLayout" Target="../diagrams/layout8.xml"/><Relationship Id="rId26" Type="http://schemas.microsoft.com/office/2007/relationships/diagramDrawing" Target="../diagrams/drawing9.xml"/><Relationship Id="rId3" Type="http://schemas.openxmlformats.org/officeDocument/2006/relationships/diagramLayout" Target="../diagrams/layout5.xml"/><Relationship Id="rId21" Type="http://schemas.microsoft.com/office/2007/relationships/diagramDrawing" Target="../diagrams/drawing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diagramData" Target="../diagrams/data8.xml"/><Relationship Id="rId25" Type="http://schemas.openxmlformats.org/officeDocument/2006/relationships/diagramColors" Target="../diagrams/colors9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diagramColors" Target="../diagrams/colors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24" Type="http://schemas.openxmlformats.org/officeDocument/2006/relationships/diagramQuickStyle" Target="../diagrams/quickStyle9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23" Type="http://schemas.openxmlformats.org/officeDocument/2006/relationships/diagramLayout" Target="../diagrams/layout9.xml"/><Relationship Id="rId10" Type="http://schemas.openxmlformats.org/officeDocument/2006/relationships/diagramColors" Target="../diagrams/colors6.xml"/><Relationship Id="rId19" Type="http://schemas.openxmlformats.org/officeDocument/2006/relationships/diagramQuickStyle" Target="../diagrams/quickStyle8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Relationship Id="rId22" Type="http://schemas.openxmlformats.org/officeDocument/2006/relationships/diagramData" Target="../diagrams/data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12.xml"/><Relationship Id="rId18" Type="http://schemas.openxmlformats.org/officeDocument/2006/relationships/diagramLayout" Target="../diagrams/layout13.xml"/><Relationship Id="rId26" Type="http://schemas.microsoft.com/office/2007/relationships/diagramDrawing" Target="../diagrams/drawing14.xml"/><Relationship Id="rId39" Type="http://schemas.openxmlformats.org/officeDocument/2006/relationships/diagramQuickStyle" Target="../diagrams/quickStyle17.xml"/><Relationship Id="rId21" Type="http://schemas.microsoft.com/office/2007/relationships/diagramDrawing" Target="../diagrams/drawing13.xml"/><Relationship Id="rId34" Type="http://schemas.openxmlformats.org/officeDocument/2006/relationships/diagramQuickStyle" Target="../diagrams/quickStyle16.xml"/><Relationship Id="rId42" Type="http://schemas.openxmlformats.org/officeDocument/2006/relationships/diagramData" Target="../diagrams/data18.xml"/><Relationship Id="rId47" Type="http://schemas.openxmlformats.org/officeDocument/2006/relationships/diagramData" Target="../diagrams/data19.xml"/><Relationship Id="rId50" Type="http://schemas.openxmlformats.org/officeDocument/2006/relationships/diagramColors" Target="../diagrams/colors19.xml"/><Relationship Id="rId55" Type="http://schemas.openxmlformats.org/officeDocument/2006/relationships/diagramColors" Target="../diagrams/colors20.xml"/><Relationship Id="rId7" Type="http://schemas.openxmlformats.org/officeDocument/2006/relationships/diagramData" Target="../diagrams/data11.xml"/><Relationship Id="rId12" Type="http://schemas.openxmlformats.org/officeDocument/2006/relationships/diagramData" Target="../diagrams/data12.xml"/><Relationship Id="rId17" Type="http://schemas.openxmlformats.org/officeDocument/2006/relationships/diagramData" Target="../diagrams/data13.xml"/><Relationship Id="rId25" Type="http://schemas.openxmlformats.org/officeDocument/2006/relationships/diagramColors" Target="../diagrams/colors14.xml"/><Relationship Id="rId33" Type="http://schemas.openxmlformats.org/officeDocument/2006/relationships/diagramLayout" Target="../diagrams/layout16.xml"/><Relationship Id="rId38" Type="http://schemas.openxmlformats.org/officeDocument/2006/relationships/diagramLayout" Target="../diagrams/layout17.xml"/><Relationship Id="rId46" Type="http://schemas.microsoft.com/office/2007/relationships/diagramDrawing" Target="../diagrams/drawing18.xml"/><Relationship Id="rId2" Type="http://schemas.openxmlformats.org/officeDocument/2006/relationships/diagramData" Target="../diagrams/data10.xml"/><Relationship Id="rId16" Type="http://schemas.microsoft.com/office/2007/relationships/diagramDrawing" Target="../diagrams/drawing12.xml"/><Relationship Id="rId20" Type="http://schemas.openxmlformats.org/officeDocument/2006/relationships/diagramColors" Target="../diagrams/colors13.xml"/><Relationship Id="rId29" Type="http://schemas.openxmlformats.org/officeDocument/2006/relationships/diagramQuickStyle" Target="../diagrams/quickStyle15.xml"/><Relationship Id="rId41" Type="http://schemas.microsoft.com/office/2007/relationships/diagramDrawing" Target="../diagrams/drawing17.xml"/><Relationship Id="rId54" Type="http://schemas.openxmlformats.org/officeDocument/2006/relationships/diagramQuickStyle" Target="../diagrams/quickStyle2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24" Type="http://schemas.openxmlformats.org/officeDocument/2006/relationships/diagramQuickStyle" Target="../diagrams/quickStyle14.xml"/><Relationship Id="rId32" Type="http://schemas.openxmlformats.org/officeDocument/2006/relationships/diagramData" Target="../diagrams/data16.xml"/><Relationship Id="rId37" Type="http://schemas.openxmlformats.org/officeDocument/2006/relationships/diagramData" Target="../diagrams/data17.xml"/><Relationship Id="rId40" Type="http://schemas.openxmlformats.org/officeDocument/2006/relationships/diagramColors" Target="../diagrams/colors17.xml"/><Relationship Id="rId45" Type="http://schemas.openxmlformats.org/officeDocument/2006/relationships/diagramColors" Target="../diagrams/colors18.xml"/><Relationship Id="rId53" Type="http://schemas.openxmlformats.org/officeDocument/2006/relationships/diagramLayout" Target="../diagrams/layout20.xml"/><Relationship Id="rId5" Type="http://schemas.openxmlformats.org/officeDocument/2006/relationships/diagramColors" Target="../diagrams/colors10.xml"/><Relationship Id="rId15" Type="http://schemas.openxmlformats.org/officeDocument/2006/relationships/diagramColors" Target="../diagrams/colors12.xml"/><Relationship Id="rId23" Type="http://schemas.openxmlformats.org/officeDocument/2006/relationships/diagramLayout" Target="../diagrams/layout14.xml"/><Relationship Id="rId28" Type="http://schemas.openxmlformats.org/officeDocument/2006/relationships/diagramLayout" Target="../diagrams/layout15.xml"/><Relationship Id="rId36" Type="http://schemas.microsoft.com/office/2007/relationships/diagramDrawing" Target="../diagrams/drawing16.xml"/><Relationship Id="rId49" Type="http://schemas.openxmlformats.org/officeDocument/2006/relationships/diagramQuickStyle" Target="../diagrams/quickStyle19.xml"/><Relationship Id="rId57" Type="http://schemas.openxmlformats.org/officeDocument/2006/relationships/image" Target="../media/image95.png"/><Relationship Id="rId10" Type="http://schemas.openxmlformats.org/officeDocument/2006/relationships/diagramColors" Target="../diagrams/colors11.xml"/><Relationship Id="rId19" Type="http://schemas.openxmlformats.org/officeDocument/2006/relationships/diagramQuickStyle" Target="../diagrams/quickStyle13.xml"/><Relationship Id="rId31" Type="http://schemas.microsoft.com/office/2007/relationships/diagramDrawing" Target="../diagrams/drawing15.xml"/><Relationship Id="rId44" Type="http://schemas.openxmlformats.org/officeDocument/2006/relationships/diagramQuickStyle" Target="../diagrams/quickStyle18.xml"/><Relationship Id="rId52" Type="http://schemas.openxmlformats.org/officeDocument/2006/relationships/diagramData" Target="../diagrams/data20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Relationship Id="rId14" Type="http://schemas.openxmlformats.org/officeDocument/2006/relationships/diagramQuickStyle" Target="../diagrams/quickStyle12.xml"/><Relationship Id="rId22" Type="http://schemas.openxmlformats.org/officeDocument/2006/relationships/diagramData" Target="../diagrams/data14.xml"/><Relationship Id="rId27" Type="http://schemas.openxmlformats.org/officeDocument/2006/relationships/diagramData" Target="../diagrams/data15.xml"/><Relationship Id="rId30" Type="http://schemas.openxmlformats.org/officeDocument/2006/relationships/diagramColors" Target="../diagrams/colors15.xml"/><Relationship Id="rId35" Type="http://schemas.openxmlformats.org/officeDocument/2006/relationships/diagramColors" Target="../diagrams/colors16.xml"/><Relationship Id="rId43" Type="http://schemas.openxmlformats.org/officeDocument/2006/relationships/diagramLayout" Target="../diagrams/layout18.xml"/><Relationship Id="rId48" Type="http://schemas.openxmlformats.org/officeDocument/2006/relationships/diagramLayout" Target="../diagrams/layout19.xml"/><Relationship Id="rId56" Type="http://schemas.microsoft.com/office/2007/relationships/diagramDrawing" Target="../diagrams/drawing20.xml"/><Relationship Id="rId8" Type="http://schemas.openxmlformats.org/officeDocument/2006/relationships/diagramLayout" Target="../diagrams/layout11.xml"/><Relationship Id="rId51" Type="http://schemas.microsoft.com/office/2007/relationships/diagramDrawing" Target="../diagrams/drawing19.xml"/><Relationship Id="rId3" Type="http://schemas.openxmlformats.org/officeDocument/2006/relationships/diagramLayout" Target="../diagrams/layout1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2.xml"/><Relationship Id="rId13" Type="http://schemas.openxmlformats.org/officeDocument/2006/relationships/diagramLayout" Target="../diagrams/layout23.xml"/><Relationship Id="rId18" Type="http://schemas.openxmlformats.org/officeDocument/2006/relationships/diagramLayout" Target="../diagrams/layout24.xml"/><Relationship Id="rId3" Type="http://schemas.openxmlformats.org/officeDocument/2006/relationships/diagramLayout" Target="../diagrams/layout21.xml"/><Relationship Id="rId21" Type="http://schemas.microsoft.com/office/2007/relationships/diagramDrawing" Target="../diagrams/drawing24.xml"/><Relationship Id="rId7" Type="http://schemas.openxmlformats.org/officeDocument/2006/relationships/diagramData" Target="../diagrams/data22.xml"/><Relationship Id="rId12" Type="http://schemas.openxmlformats.org/officeDocument/2006/relationships/diagramData" Target="../diagrams/data23.xml"/><Relationship Id="rId17" Type="http://schemas.openxmlformats.org/officeDocument/2006/relationships/diagramData" Target="../diagrams/data24.xml"/><Relationship Id="rId2" Type="http://schemas.openxmlformats.org/officeDocument/2006/relationships/diagramData" Target="../diagrams/data21.xml"/><Relationship Id="rId16" Type="http://schemas.microsoft.com/office/2007/relationships/diagramDrawing" Target="../diagrams/drawing23.xml"/><Relationship Id="rId20" Type="http://schemas.openxmlformats.org/officeDocument/2006/relationships/diagramColors" Target="../diagrams/colors2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1.xml"/><Relationship Id="rId11" Type="http://schemas.microsoft.com/office/2007/relationships/diagramDrawing" Target="../diagrams/drawing22.xml"/><Relationship Id="rId5" Type="http://schemas.openxmlformats.org/officeDocument/2006/relationships/diagramColors" Target="../diagrams/colors21.xml"/><Relationship Id="rId15" Type="http://schemas.openxmlformats.org/officeDocument/2006/relationships/diagramColors" Target="../diagrams/colors23.xml"/><Relationship Id="rId10" Type="http://schemas.openxmlformats.org/officeDocument/2006/relationships/diagramColors" Target="../diagrams/colors22.xml"/><Relationship Id="rId19" Type="http://schemas.openxmlformats.org/officeDocument/2006/relationships/diagramQuickStyle" Target="../diagrams/quickStyle24.xml"/><Relationship Id="rId4" Type="http://schemas.openxmlformats.org/officeDocument/2006/relationships/diagramQuickStyle" Target="../diagrams/quickStyle21.xml"/><Relationship Id="rId9" Type="http://schemas.openxmlformats.org/officeDocument/2006/relationships/diagramQuickStyle" Target="../diagrams/quickStyle22.xml"/><Relationship Id="rId14" Type="http://schemas.openxmlformats.org/officeDocument/2006/relationships/diagramQuickStyle" Target="../diagrams/quickStyle2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-2616968" y="2996952"/>
            <a:ext cx="5399981" cy="10795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3</a:t>
            </a:r>
            <a:endParaRPr lang="en-US" sz="36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15880" y="3068960"/>
            <a:ext cx="50405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 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L SAIKRISHNA                         9403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NEGA                                    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959_IN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RISHIKESH S                            9395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JANA                                        94001_IN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HAVANA                                    93938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 VINAYKUMAR                        93992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76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therboard</a:t>
            </a: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Content Placeholder 1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2878" y="1613123"/>
            <a:ext cx="7000723" cy="4594225"/>
          </a:xfrm>
        </p:spPr>
      </p:pic>
      <p:cxnSp>
        <p:nvCxnSpPr>
          <p:cNvPr id="20" name="Straight Arrow Connector 19"/>
          <p:cNvCxnSpPr/>
          <p:nvPr/>
        </p:nvCxnSpPr>
        <p:spPr>
          <a:xfrm flipV="1">
            <a:off x="3867665" y="2014151"/>
            <a:ext cx="1433384" cy="2471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301049" y="2014151"/>
            <a:ext cx="308919" cy="101325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61989" y="1897332"/>
            <a:ext cx="135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PU SOCKET</a:t>
            </a:r>
          </a:p>
        </p:txBody>
      </p:sp>
      <p:cxnSp>
        <p:nvCxnSpPr>
          <p:cNvPr id="27" name="Straight Arrow Connector 26"/>
          <p:cNvCxnSpPr>
            <a:stCxn id="28" idx="1"/>
          </p:cNvCxnSpPr>
          <p:nvPr/>
        </p:nvCxnSpPr>
        <p:spPr>
          <a:xfrm flipH="1">
            <a:off x="8933936" y="2683534"/>
            <a:ext cx="691978" cy="442725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625914" y="2421924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ATA CONNECTOR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6833287" y="396652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045146" y="4077731"/>
            <a:ext cx="15940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MOS BATTERY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5053914" y="1452488"/>
            <a:ext cx="308919" cy="345989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053914" y="1452488"/>
            <a:ext cx="1927654" cy="0"/>
          </a:xfrm>
          <a:prstGeom prst="lin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969210" y="1305346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DIMM SLOT</a:t>
            </a:r>
          </a:p>
        </p:txBody>
      </p:sp>
      <p:sp>
        <p:nvSpPr>
          <p:cNvPr id="15" name="Left Brace 14"/>
          <p:cNvSpPr/>
          <p:nvPr/>
        </p:nvSpPr>
        <p:spPr>
          <a:xfrm rot="18741364">
            <a:off x="2815844" y="3503140"/>
            <a:ext cx="645546" cy="1816443"/>
          </a:xfrm>
          <a:prstGeom prst="leftBrac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12045" y="4744994"/>
            <a:ext cx="1581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BACK PANEL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(PERIPHERAL CONNECTORS)</a:t>
            </a:r>
          </a:p>
        </p:txBody>
      </p:sp>
      <p:sp>
        <p:nvSpPr>
          <p:cNvPr id="19" name="Right Brace 18"/>
          <p:cNvSpPr/>
          <p:nvPr/>
        </p:nvSpPr>
        <p:spPr>
          <a:xfrm rot="3138051">
            <a:off x="7085269" y="5191652"/>
            <a:ext cx="593125" cy="809939"/>
          </a:xfrm>
          <a:prstGeom prst="rightBrac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61189" y="5634455"/>
            <a:ext cx="1618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FRONT PANEL CONNECTOR PINS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7381831" y="4385508"/>
            <a:ext cx="1292612" cy="44598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755072" y="4744994"/>
            <a:ext cx="1303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SLOT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4683211" y="4510216"/>
            <a:ext cx="1149178" cy="133453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138617" y="5844746"/>
            <a:ext cx="1915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XPRESS SLO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 flipV="1">
            <a:off x="8028137" y="333427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332108" y="3385692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OUTH BRIDGE</a:t>
            </a:r>
          </a:p>
        </p:txBody>
      </p:sp>
    </p:spTree>
    <p:extLst>
      <p:ext uri="{BB962C8B-B14F-4D97-AF65-F5344CB8AC3E}">
        <p14:creationId xmlns:p14="http://schemas.microsoft.com/office/powerpoint/2010/main" val="326016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/>
      <p:bldP spid="7" grpId="0"/>
      <p:bldP spid="13" grpId="0"/>
      <p:bldP spid="15" grpId="0" animBg="1"/>
      <p:bldP spid="17" grpId="0"/>
      <p:bldP spid="19" grpId="0" animBg="1"/>
      <p:bldP spid="21" grpId="0"/>
      <p:bldP spid="29" grpId="0"/>
      <p:bldP spid="32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ARD DISK</a:t>
            </a:r>
            <a:endParaRPr lang="en-US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7662" y="1289510"/>
            <a:ext cx="5668337" cy="412833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896820" y="40515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/>
              <a:t>Memory</a:t>
            </a:r>
            <a:endParaRPr lang="en-US" b="1" dirty="0"/>
          </a:p>
        </p:txBody>
      </p:sp>
      <p:pic>
        <p:nvPicPr>
          <p:cNvPr id="6" name="Picture 2" descr="http://www.byte-notes.com/sites/default/files/styles/large/public/field/image/types-of-cache-memory.gif?itok=2GeBSTq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32" y="1484784"/>
            <a:ext cx="4811077" cy="393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297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-24061" y="1196752"/>
            <a:ext cx="5399981" cy="1079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r" defTabSz="9144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accent1"/>
                </a:solidFill>
              </a:rPr>
              <a:t>WINDOWS FUNDEMANTALS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98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908050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Operating </a:t>
            </a:r>
            <a:r>
              <a:rPr lang="en-US" sz="3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335360" y="764704"/>
            <a:ext cx="3429000" cy="26003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501008"/>
            <a:ext cx="458383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mple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gramming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cessor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ktop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ed Operating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ustered System</a:t>
            </a:r>
          </a:p>
          <a:p>
            <a:pPr>
              <a:buFont typeface="+mj-lt"/>
              <a:buAutoNum type="arabicPeriod"/>
            </a:pP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l time 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rating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en-US" sz="2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024" y="980868"/>
            <a:ext cx="4536504" cy="3600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07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0704" y="620688"/>
            <a:ext cx="7632848" cy="568863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7872" y="1459582"/>
            <a:ext cx="4876800" cy="40576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824192" y="836712"/>
            <a:ext cx="4608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KERNEL ARCHITECTURE</a:t>
            </a:r>
            <a:endParaRPr lang="en-US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503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64" y="1124744"/>
            <a:ext cx="5519936" cy="48965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4" y="1340768"/>
            <a:ext cx="5400600" cy="44958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75720" y="116632"/>
            <a:ext cx="47078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ndows Booting Proces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22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58" y="1202432"/>
            <a:ext cx="4502274" cy="23705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192" y="1052736"/>
            <a:ext cx="3960440" cy="28746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4104793"/>
            <a:ext cx="5238750" cy="273630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871864" y="188640"/>
            <a:ext cx="34563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S</a:t>
            </a:r>
            <a:r>
              <a:rPr lang="en-US" sz="3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stem</a:t>
            </a:r>
            <a:endParaRPr lang="en-US" sz="3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473" y="4206697"/>
            <a:ext cx="3528392" cy="265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18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 flipH="1">
            <a:off x="3647728" y="143157"/>
            <a:ext cx="7476074" cy="47667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 Mechanisms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Window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istry i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collection of databases of configuration settings in Microsoft Windows operating syste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ervice Control Manager (SCM) is the key component of the operating system responsible for providing a management interface to services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7987" y="1128851"/>
            <a:ext cx="5543551" cy="58427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Registry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258653" y="1128851"/>
            <a:ext cx="5516444" cy="56801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Services 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9" y="3284984"/>
            <a:ext cx="5972175" cy="34656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7471" y="3519120"/>
            <a:ext cx="5715000" cy="322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device drivers in window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28055"/>
            <a:ext cx="4030755" cy="462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829" y="2197764"/>
            <a:ext cx="3338398" cy="475962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34880" y="260648"/>
            <a:ext cx="37529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Management</a:t>
            </a:r>
            <a:endParaRPr lang="en-US" sz="3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600382" y="2852936"/>
            <a:ext cx="25202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spend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um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reen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cklight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r Idle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040216" y="1525081"/>
            <a:ext cx="36406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wer Manager State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39616" y="1484784"/>
            <a:ext cx="23038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</a:t>
            </a:r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iver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5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189135"/>
            <a:ext cx="11016604" cy="863601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Process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</a:t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8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60" y="3791939"/>
            <a:ext cx="5384800" cy="2334225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223293" y="1700808"/>
            <a:ext cx="5384800" cy="4525963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reads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llest sequence of programmed instructions</a:t>
            </a:r>
            <a:r>
              <a:rPr lang="en-US" dirty="0"/>
              <a:t> </a:t>
            </a:r>
          </a:p>
        </p:txBody>
      </p:sp>
      <p:sp>
        <p:nvSpPr>
          <p:cNvPr id="8" name="Rectangle 7"/>
          <p:cNvSpPr/>
          <p:nvPr/>
        </p:nvSpPr>
        <p:spPr>
          <a:xfrm>
            <a:off x="101600" y="150604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llection of one or more threads and associated system resources such as memory, open files and devic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938" y="3140045"/>
            <a:ext cx="23406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 States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9987" y="3356992"/>
            <a:ext cx="5553075" cy="274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9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ENDA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86862" y="1530615"/>
            <a:ext cx="11805138" cy="3686153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rd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51784" y="169476"/>
            <a:ext cx="360387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124744"/>
            <a:ext cx="121920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  -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memory management systems map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es of the pages with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physical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es of the pages after the pages of the program has been loaded at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M.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ace -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ddress space for each process is private and cannot be accessed by other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e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less it i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d. 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 does not represent the actual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ysical location of an object in memory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gi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It is a memory management scheme that eliminates the need for contiguous allocation of physical memory.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Pool  -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t also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lled fixed-size blocks allocation, is the use of pools 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 memor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management that allows dynamic memory 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locatio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Paged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Non paged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</a:p>
          <a:p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45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426921" y="2515897"/>
            <a:ext cx="6018865" cy="14974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endParaRPr lang="en-US" b="1" dirty="0">
              <a:latin typeface="+mn-l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328" y="2132856"/>
            <a:ext cx="7560840" cy="6262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4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  <a:endParaRPr lang="en-US" sz="4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47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: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fontAlgn="base"/>
            <a:r>
              <a:rPr lang="en-US" sz="2400" dirty="0" smtClean="0">
                <a:latin typeface="Baskerville Old Face" panose="02020602080505020303" pitchFamily="18" charset="0"/>
              </a:rPr>
              <a:t>Linux was introduces by </a:t>
            </a:r>
            <a:r>
              <a:rPr lang="en-US" sz="2400" dirty="0">
                <a:latin typeface="Baskerville Old Face" panose="02020602080505020303" pitchFamily="18" charset="0"/>
              </a:rPr>
              <a:t>L</a:t>
            </a:r>
            <a:r>
              <a:rPr lang="en-US" sz="2400" dirty="0" smtClean="0">
                <a:latin typeface="Baskerville Old Face" panose="02020602080505020303" pitchFamily="18" charset="0"/>
              </a:rPr>
              <a:t>inus Torvald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dirty="0" smtClean="0">
                <a:latin typeface="Baskerville Old Face" panose="02020602080505020303" pitchFamily="18" charset="0"/>
              </a:rPr>
              <a:t>in the year 1991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705" t="15981"/>
          <a:stretch/>
        </p:blipFill>
        <p:spPr>
          <a:xfrm>
            <a:off x="6672064" y="1702677"/>
            <a:ext cx="4412540" cy="22650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202" y="2132856"/>
            <a:ext cx="3858102" cy="21605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392144" y="4539479"/>
            <a:ext cx="2160240" cy="5760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ftware Version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7782543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9" idx="2"/>
          </p:cNvCxnSpPr>
          <p:nvPr/>
        </p:nvCxnSpPr>
        <p:spPr>
          <a:xfrm>
            <a:off x="8472264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6888088" y="5805264"/>
            <a:ext cx="144016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pha 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8817124" y="5805264"/>
            <a:ext cx="145534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3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Subsystem: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/>
          </p:nvPr>
        </p:nvGraphicFramePr>
        <p:xfrm>
          <a:off x="695400" y="1124744"/>
          <a:ext cx="5760640" cy="439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4772" y="1412776"/>
            <a:ext cx="2197882" cy="11154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9010" y="898931"/>
            <a:ext cx="2143125" cy="214312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0222" y="3175659"/>
            <a:ext cx="2444606" cy="13688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38545" y="3140968"/>
            <a:ext cx="1286047" cy="170153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0096" y="5119862"/>
            <a:ext cx="1582802" cy="15828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2"/>
          <a:srcRect r="943" b="-391"/>
          <a:stretch/>
        </p:blipFill>
        <p:spPr>
          <a:xfrm>
            <a:off x="9601366" y="5395258"/>
            <a:ext cx="1800200" cy="1274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01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79376" y="323945"/>
            <a:ext cx="25442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Kernel</a:t>
            </a:r>
            <a:endParaRPr lang="en-US" sz="32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373863" y="1340768"/>
            <a:ext cx="2919046" cy="53926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40815" y="1270429"/>
            <a:ext cx="3012831" cy="6799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Memory Manageme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3430" y="2583414"/>
            <a:ext cx="2227385" cy="633046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Virtual Files Syste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601248" y="2595136"/>
            <a:ext cx="2426677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Inter-process Communicat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268353" y="2583414"/>
            <a:ext cx="1957753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Process Scheduler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033891" y="4265676"/>
            <a:ext cx="2426677" cy="8323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Network Interface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251986" y="1610399"/>
            <a:ext cx="1477107" cy="97301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1486449" y="1880029"/>
            <a:ext cx="1254366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847432" y="1774522"/>
            <a:ext cx="762000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0" idx="3"/>
            <a:endCxn id="12" idx="1"/>
          </p:cNvCxnSpPr>
          <p:nvPr/>
        </p:nvCxnSpPr>
        <p:spPr>
          <a:xfrm>
            <a:off x="2740815" y="2899937"/>
            <a:ext cx="527538" cy="23447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1" idx="1"/>
            <a:endCxn id="12" idx="3"/>
          </p:cNvCxnSpPr>
          <p:nvPr/>
        </p:nvCxnSpPr>
        <p:spPr>
          <a:xfrm flipH="1" flipV="1">
            <a:off x="5226106" y="2923384"/>
            <a:ext cx="375142" cy="1172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3" idx="0"/>
          </p:cNvCxnSpPr>
          <p:nvPr/>
        </p:nvCxnSpPr>
        <p:spPr>
          <a:xfrm flipH="1" flipV="1">
            <a:off x="4247229" y="3275075"/>
            <a:ext cx="1" cy="99060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627123" y="3327828"/>
            <a:ext cx="1266094" cy="146538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" idx="2"/>
            <a:endCxn id="12" idx="0"/>
          </p:cNvCxnSpPr>
          <p:nvPr/>
        </p:nvCxnSpPr>
        <p:spPr>
          <a:xfrm flipH="1">
            <a:off x="4247230" y="1950367"/>
            <a:ext cx="1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440663" y="1950367"/>
            <a:ext cx="0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824192" y="3770375"/>
            <a:ext cx="35283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Run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0- Ha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1-Single 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2-MultiUser mode with Net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3-Full multi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4-Unu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5-X1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6-Reboot.</a:t>
            </a:r>
            <a:endParaRPr lang="en-US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44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404664"/>
            <a:ext cx="36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ting Process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820" y="980728"/>
            <a:ext cx="4607076" cy="532859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88088" y="40466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ll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68408" y="3645024"/>
            <a:ext cx="23042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Sh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our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o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T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Z-Shell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5920" y="1268760"/>
            <a:ext cx="4511431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89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476672"/>
            <a:ext cx="4968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Management </a:t>
            </a:r>
            <a:endParaRPr lang="en-US" sz="2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662" t="15637"/>
          <a:stretch/>
        </p:blipFill>
        <p:spPr>
          <a:xfrm>
            <a:off x="3380730" y="707504"/>
            <a:ext cx="8022828" cy="378681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5360" y="4581128"/>
            <a:ext cx="46805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Linux File System.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Ext 2.		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Ext 3.		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Ext 4.		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23992" y="4941168"/>
            <a:ext cx="27363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urnaling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Write back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Ordered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Data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41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51384" y="548680"/>
            <a:ext cx="6096000" cy="415498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nit process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arent 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ld </a:t>
            </a:r>
            <a:r>
              <a:rPr lang="en-US" sz="2400" dirty="0" smtClean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aemo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pha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ombi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teractiv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tomatic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al tim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888" y="404664"/>
            <a:ext cx="5459519" cy="366833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807968" y="4217020"/>
            <a:ext cx="56166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Process Scheduling</a:t>
            </a:r>
          </a:p>
          <a:p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CFS (First Come First Serv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JF      (Shortest Job Firs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und Rob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ority Scheduling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4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376" y="620688"/>
            <a:ext cx="69127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Management .</a:t>
            </a:r>
          </a:p>
          <a:p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9376" y="1267019"/>
            <a:ext cx="5832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vice files (/dev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Q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855640" y="364230"/>
          <a:ext cx="4784080" cy="2467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35360" y="2963553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 </a:t>
            </a:r>
            <a:endParaRPr lang="en-US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714" y="3596915"/>
            <a:ext cx="5040560" cy="26238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7624" y="2963553"/>
            <a:ext cx="3384376" cy="2784413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6312024" y="4005063"/>
          <a:ext cx="2592288" cy="21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419216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1104800" y="1628800"/>
            <a:ext cx="6192688" cy="1008112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EMANTALS</a:t>
            </a:r>
            <a:endParaRPr lang="en-US" sz="2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91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8021" y="1994725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t has-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n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Out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Storage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ntrol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ALU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98143" y="1401663"/>
            <a:ext cx="11813715" cy="643612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 What is Computer?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354" y="1606062"/>
            <a:ext cx="5317515" cy="439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 txBox="1">
            <a:spLocks/>
          </p:cNvSpPr>
          <p:nvPr/>
        </p:nvSpPr>
        <p:spPr>
          <a:xfrm>
            <a:off x="191344" y="33265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HARDW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36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42603" y="191869"/>
            <a:ext cx="27655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28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</a:rPr>
              <a:t>Network Devices</a:t>
            </a:r>
            <a:endParaRPr lang="en-IN" sz="2800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ea typeface="Verdana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48" y="1166319"/>
            <a:ext cx="3450878" cy="25613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468555" y="1288152"/>
            <a:ext cx="1909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outer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050" name="Picture 2" descr="Image result for repeater network device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699" y="4136863"/>
            <a:ext cx="3106626" cy="255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nic network device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4403848"/>
            <a:ext cx="3965575" cy="1996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468555" y="3844476"/>
            <a:ext cx="2356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               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NIC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4" name="Picture 2" descr="Image result for switch networ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496" y="2396335"/>
            <a:ext cx="3552825" cy="128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Image result for hub network"/>
          <p:cNvSpPr>
            <a:spLocks noChangeAspect="1" noChangeArrowheads="1"/>
          </p:cNvSpPr>
          <p:nvPr/>
        </p:nvSpPr>
        <p:spPr bwMode="auto">
          <a:xfrm>
            <a:off x="1288914" y="2621024"/>
            <a:ext cx="1461505" cy="146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2" descr="Image result for hub netwo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86" name="Picture 14" descr="Image result for hub networ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14" y="2172451"/>
            <a:ext cx="3064143" cy="1349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Image result for bridge network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6" y="4312280"/>
            <a:ext cx="2753937" cy="204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085947" y="1288151"/>
            <a:ext cx="18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HUB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43151" y="1288151"/>
            <a:ext cx="17644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Switch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85947" y="4082534"/>
            <a:ext cx="19663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Brid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96216" y="3913232"/>
            <a:ext cx="21121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epeater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0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5136" y="332656"/>
            <a:ext cx="10515600" cy="965915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TYPES OF NETWORK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85" y="1859633"/>
            <a:ext cx="3286598" cy="2021524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279" y="1519707"/>
            <a:ext cx="4702839" cy="236145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567" y="1519707"/>
            <a:ext cx="2989948" cy="2176531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54" y="4386310"/>
            <a:ext cx="3098483" cy="1693545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236" y="4194882"/>
            <a:ext cx="2695575" cy="2085975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191" y="4129760"/>
            <a:ext cx="2790124" cy="2206646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470" y="4353055"/>
            <a:ext cx="2296160" cy="18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5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33800" y="228600"/>
            <a:ext cx="32262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Topologies</a:t>
            </a:r>
            <a:endParaRPr lang="en-IN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105" y="1298299"/>
            <a:ext cx="4462677" cy="4767649"/>
          </a:xfrm>
          <a:prstGeom prst="rect">
            <a:avLst/>
          </a:prstGeom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09" y="1298301"/>
            <a:ext cx="7070501" cy="493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19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008" y="1610284"/>
            <a:ext cx="9105363" cy="494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64976" y="260648"/>
            <a:ext cx="10515600" cy="1141703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CP/IP LAYERS AND OSI LAYER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97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197700"/>
            <a:ext cx="10515600" cy="1325563"/>
          </a:xfrm>
        </p:spPr>
        <p:txBody>
          <a:bodyPr/>
          <a:lstStyle/>
          <a:p>
            <a:r>
              <a:rPr lang="en-US" b="1" dirty="0" smtClean="0"/>
              <a:t>                           IP ADDRESS CLASSES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76" y="1196752"/>
            <a:ext cx="10447229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3352" y="3140968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  <a:endParaRPr lang="en-US" sz="2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869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3992" y="2852936"/>
            <a:ext cx="5896044" cy="371278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5993" y="116632"/>
            <a:ext cx="86040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C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9416" y="1264692"/>
            <a:ext cx="98650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dynamically assign an IP address to any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ADVANTAG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CHNOLOGIES PRIOR TO DHC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 BY STEP PROCESS 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0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3832" y="2780928"/>
            <a:ext cx="6072142" cy="33896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711624" y="169476"/>
            <a:ext cx="5904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336" y="908720"/>
            <a:ext cx="12072664" cy="14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Domain Name System (</a:t>
            </a:r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is a hierarchical decentralized naming system for computers, services, or other resources connected to the Internet or a private network.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78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784" y="2492896"/>
            <a:ext cx="4371211" cy="41029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27448" y="0"/>
            <a:ext cx="9361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ECTORY SERVICE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368" y="1323439"/>
            <a:ext cx="1108923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irectory services contain data an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tadata</a:t>
            </a:r>
          </a:p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X.500 formed the basis of a standard that is widely deploye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nown as LDAP                       </a:t>
            </a: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>
              <a:buSzPct val="121000"/>
            </a:pPr>
            <a:endParaRPr lang="en-US" sz="4400" b="1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04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13186"/>
          <a:stretch/>
        </p:blipFill>
        <p:spPr>
          <a:xfrm>
            <a:off x="2075352" y="3429000"/>
            <a:ext cx="9997312" cy="265106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19536" y="169476"/>
            <a:ext cx="72903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L </a:t>
            </a:r>
            <a:r>
              <a:rPr lang="en-US" sz="28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ICES</a:t>
            </a:r>
            <a:endParaRPr lang="en-US" sz="28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9336" y="1342805"/>
            <a:ext cx="11953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that receives incoming e-mail from local users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te senders and forwards outgoing e-mail for delivery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9336" y="2531805"/>
            <a:ext cx="424847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D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MT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3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AP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PI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0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645608"/>
            <a:ext cx="11793979" cy="4133869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Types of 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mbrane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ultimedi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89299" y="1155478"/>
            <a:ext cx="11813715" cy="47403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338" y="502764"/>
            <a:ext cx="3153507" cy="271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7865" y="662118"/>
            <a:ext cx="3144135" cy="3008198"/>
          </a:xfrm>
          <a:prstGeom prst="rect">
            <a:avLst/>
          </a:prstGeom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517" y="548681"/>
            <a:ext cx="2539512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79376" y="429309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use</a:t>
            </a:r>
            <a:endParaRPr lang="en-US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8021" y="5013176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mouse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Opt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Wireless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665" y="3819773"/>
            <a:ext cx="3024095" cy="279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6360" y="3755811"/>
            <a:ext cx="2552331" cy="293234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706" y="3755810"/>
            <a:ext cx="2840204" cy="3013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dirty="0" smtClean="0"/>
              <a:t>INPUT DE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99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75520" y="14604"/>
            <a:ext cx="79208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SERVICES</a:t>
            </a:r>
            <a:endParaRPr lang="en-US" sz="4400" b="1" u="sng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423" y="2813040"/>
            <a:ext cx="5054970" cy="30824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214933"/>
            <a:ext cx="120006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s as an intermediary between the user's computer and the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caching is a feature of proxy servers that stores content on the proxy server itself, allowing web services to share those resources to more user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4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83632" y="27856"/>
            <a:ext cx="65527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B SERVICE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2924944"/>
            <a:ext cx="6480720" cy="2736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63352" y="797297"/>
            <a:ext cx="120726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’s a service offered by an electronic device to another electronic device, communicating with each other via the World Wide Web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8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68227" y="3573016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+mj-lt"/>
              </a:rPr>
              <a:t>APPLICATIONS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619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95600" y="8857"/>
            <a:ext cx="64807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3352" y="980728"/>
            <a:ext cx="11521280" cy="11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 application program is a computer program designed to perform a group of coordinated functions, tasks, or activities for the benefit of the user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4172852" y="2054751"/>
          <a:ext cx="5292447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4420" y="2996952"/>
            <a:ext cx="38884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NENTS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7368" y="5373216"/>
            <a:ext cx="41044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: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32692" y="5120897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COMPIL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INTERPRETER</a:t>
            </a:r>
            <a:endParaRPr 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32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75520" y="152727"/>
            <a:ext cx="8352928" cy="86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558411" y="79913"/>
            <a:ext cx="74168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- LIFE CYCLE</a:t>
            </a:r>
            <a:endParaRPr lang="en-US" sz="32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16823"/>
            <a:ext cx="5490997" cy="52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5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27648" y="116632"/>
            <a:ext cx="59046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4000" b="1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9936" y="2132465"/>
            <a:ext cx="4176464" cy="40349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1344" y="817927"/>
            <a:ext cx="118813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An application program interface (API) is code that allows two software programs to communicate with each other.</a:t>
            </a:r>
          </a:p>
          <a:p>
            <a:pPr>
              <a:lnSpc>
                <a:spcPct val="100000"/>
              </a:lnSpc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1344" y="2564904"/>
            <a:ext cx="59046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 OF ATTACKS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L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jec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oss-site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ipting 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nial-of-servic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ssion hijacking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10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87488" y="116632"/>
            <a:ext cx="9145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ARCHITECTURE - TYPES</a:t>
            </a:r>
            <a:endParaRPr lang="en-US" sz="36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168" y="970007"/>
            <a:ext cx="2664296" cy="26326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6967" b="29824"/>
          <a:stretch/>
        </p:blipFill>
        <p:spPr>
          <a:xfrm>
            <a:off x="767408" y="699195"/>
            <a:ext cx="4703769" cy="3086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032" y="3786001"/>
            <a:ext cx="4140520" cy="26316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6040" y="3821584"/>
            <a:ext cx="5142194" cy="259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8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412776"/>
            <a:ext cx="5956218" cy="48245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91544" y="188640"/>
            <a:ext cx="74168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ERPRISE APPLICATIONS</a:t>
            </a:r>
            <a:endParaRPr lang="en-US" sz="40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829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807968" y="386104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DATABASE FUNDAMENTAL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23175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476672"/>
            <a:ext cx="1065718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BMS</a:t>
            </a:r>
          </a:p>
          <a:p>
            <a:endParaRPr lang="en-US" dirty="0" smtClean="0"/>
          </a:p>
          <a:p>
            <a:r>
              <a:rPr lang="en-US" dirty="0" smtClean="0"/>
              <a:t>It is responsible for creating,</a:t>
            </a:r>
            <a:r>
              <a:rPr lang="en-US" dirty="0"/>
              <a:t> editing, deleting and generally maintaining a database or collection of data records. </a:t>
            </a:r>
            <a:endParaRPr lang="en-US" dirty="0" smtClean="0"/>
          </a:p>
          <a:p>
            <a:r>
              <a:rPr lang="en-US" dirty="0"/>
              <a:t> A database model is the manner in which the data collection is stored, managed and administered. </a:t>
            </a:r>
            <a:endParaRPr lang="en-US" dirty="0" smtClean="0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940687810"/>
              </p:ext>
            </p:extLst>
          </p:nvPr>
        </p:nvGraphicFramePr>
        <p:xfrm>
          <a:off x="2639616" y="3374752"/>
          <a:ext cx="568863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740276105"/>
              </p:ext>
            </p:extLst>
          </p:nvPr>
        </p:nvGraphicFramePr>
        <p:xfrm>
          <a:off x="2627986" y="3906314"/>
          <a:ext cx="570026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543715752"/>
              </p:ext>
            </p:extLst>
          </p:nvPr>
        </p:nvGraphicFramePr>
        <p:xfrm>
          <a:off x="2649352" y="4418501"/>
          <a:ext cx="567889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3025382476"/>
              </p:ext>
            </p:extLst>
          </p:nvPr>
        </p:nvGraphicFramePr>
        <p:xfrm>
          <a:off x="2649352" y="4940300"/>
          <a:ext cx="570026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1062934050"/>
              </p:ext>
            </p:extLst>
          </p:nvPr>
        </p:nvGraphicFramePr>
        <p:xfrm>
          <a:off x="2649352" y="5473040"/>
          <a:ext cx="568863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54899" y="2517539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ifferent data models</a:t>
            </a:r>
            <a:r>
              <a:rPr lang="en-US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: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559496" y="5657706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20" idx="1"/>
          </p:cNvCxnSpPr>
          <p:nvPr/>
        </p:nvCxnSpPr>
        <p:spPr>
          <a:xfrm>
            <a:off x="1559496" y="5124966"/>
            <a:ext cx="108985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1559496" y="4603167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15" idx="1"/>
          </p:cNvCxnSpPr>
          <p:nvPr/>
        </p:nvCxnSpPr>
        <p:spPr>
          <a:xfrm>
            <a:off x="1559496" y="4090980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endCxn id="13" idx="1"/>
          </p:cNvCxnSpPr>
          <p:nvPr/>
        </p:nvCxnSpPr>
        <p:spPr>
          <a:xfrm>
            <a:off x="1559496" y="3559418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559496" y="3029726"/>
            <a:ext cx="0" cy="52969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559496" y="3559418"/>
            <a:ext cx="0" cy="53156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559496" y="4090980"/>
            <a:ext cx="0" cy="512187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559496" y="4603167"/>
            <a:ext cx="0" cy="521799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559496" y="5124966"/>
            <a:ext cx="0" cy="532740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8731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5" grpId="0">
        <p:bldAsOne/>
      </p:bldGraphic>
      <p:bldGraphic spid="18" grpId="0">
        <p:bldAsOne/>
      </p:bldGraphic>
      <p:bldGraphic spid="20" grpId="0">
        <p:bldAsOne/>
      </p:bldGraphic>
      <p:bldGraphic spid="22" grpId="0">
        <p:bldAsOne/>
      </p:bldGraphic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684238"/>
            <a:ext cx="10972800" cy="944562"/>
          </a:xfrm>
        </p:spPr>
        <p:txBody>
          <a:bodyPr>
            <a:normAutofit/>
          </a:bodyPr>
          <a:lstStyle/>
          <a:p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Working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principle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scanner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556792"/>
            <a:ext cx="5904656" cy="3529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71664" y="4725144"/>
            <a:ext cx="4248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nalog to Digital converter)</a:t>
            </a:r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3071664" y="4522322"/>
            <a:ext cx="310857" cy="2748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783632" y="3059668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Charge Coupled Device)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2711624" y="3385073"/>
            <a:ext cx="279032" cy="54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407988" y="117127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SCANNER</a:t>
            </a:r>
            <a:endParaRPr lang="en-US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7176120" y="980728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Flatbed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Drum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Handheld scanne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568" y="2401024"/>
            <a:ext cx="2160240" cy="2324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368" y="2801526"/>
            <a:ext cx="2187824" cy="226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7476" y="4624262"/>
            <a:ext cx="1750892" cy="2189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481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07368" y="401645"/>
            <a:ext cx="55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File based approach Disadvantages</a:t>
            </a:r>
            <a:r>
              <a:rPr lang="en-US" sz="2000" b="1" dirty="0" smtClean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:</a:t>
            </a:r>
            <a:endParaRPr lang="en-US" sz="2000" b="1" dirty="0">
              <a:solidFill>
                <a:schemeClr val="accent2"/>
              </a:solidFill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12773825"/>
              </p:ext>
            </p:extLst>
          </p:nvPr>
        </p:nvGraphicFramePr>
        <p:xfrm>
          <a:off x="1487488" y="1005610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567386322"/>
              </p:ext>
            </p:extLst>
          </p:nvPr>
        </p:nvGraphicFramePr>
        <p:xfrm>
          <a:off x="1487488" y="151680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55777263"/>
              </p:ext>
            </p:extLst>
          </p:nvPr>
        </p:nvGraphicFramePr>
        <p:xfrm>
          <a:off x="1487488" y="2028004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1404396206"/>
              </p:ext>
            </p:extLst>
          </p:nvPr>
        </p:nvGraphicFramePr>
        <p:xfrm>
          <a:off x="1487488" y="256458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3313556798"/>
              </p:ext>
            </p:extLst>
          </p:nvPr>
        </p:nvGraphicFramePr>
        <p:xfrm>
          <a:off x="1487488" y="3073111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672064" y="421371"/>
            <a:ext cx="4464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DBMS advantages</a:t>
            </a:r>
            <a:r>
              <a:rPr lang="en-US" sz="2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:</a:t>
            </a:r>
            <a:endParaRPr lang="en-US" sz="2000" dirty="0">
              <a:cs typeface="Times New Roman" panose="02020603050405020304" pitchFamily="18" charset="0"/>
            </a:endParaRPr>
          </a:p>
        </p:txBody>
      </p:sp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1644083889"/>
              </p:ext>
            </p:extLst>
          </p:nvPr>
        </p:nvGraphicFramePr>
        <p:xfrm>
          <a:off x="7555768" y="967858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1131987611"/>
              </p:ext>
            </p:extLst>
          </p:nvPr>
        </p:nvGraphicFramePr>
        <p:xfrm>
          <a:off x="7555768" y="1479055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3967886894"/>
              </p:ext>
            </p:extLst>
          </p:nvPr>
        </p:nvGraphicFramePr>
        <p:xfrm>
          <a:off x="7536160" y="2028004"/>
          <a:ext cx="333197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2520828236"/>
              </p:ext>
            </p:extLst>
          </p:nvPr>
        </p:nvGraphicFramePr>
        <p:xfrm>
          <a:off x="7536160" y="2539201"/>
          <a:ext cx="333197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3552403843"/>
              </p:ext>
            </p:extLst>
          </p:nvPr>
        </p:nvGraphicFramePr>
        <p:xfrm>
          <a:off x="7555768" y="3050398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30" name="Diagram 29"/>
          <p:cNvGraphicFramePr/>
          <p:nvPr>
            <p:extLst>
              <p:ext uri="{D42A27DB-BD31-4B8C-83A1-F6EECF244321}">
                <p14:modId xmlns:p14="http://schemas.microsoft.com/office/powerpoint/2010/main" val="650484182"/>
              </p:ext>
            </p:extLst>
          </p:nvPr>
        </p:nvGraphicFramePr>
        <p:xfrm>
          <a:off x="7555768" y="3599347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97158" y="3616186"/>
            <a:ext cx="5256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ACID PROPERTIES</a:t>
            </a:r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:</a:t>
            </a:r>
            <a:endParaRPr lang="en-US" sz="2000" b="1" dirty="0">
              <a:solidFill>
                <a:schemeClr val="accent2">
                  <a:lumMod val="60000"/>
                  <a:lumOff val="40000"/>
                </a:schemeClr>
              </a:solidFill>
              <a:latin typeface="+mj-lt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994" y="4189373"/>
            <a:ext cx="4074398" cy="215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ight Arrow 35"/>
          <p:cNvSpPr/>
          <p:nvPr/>
        </p:nvSpPr>
        <p:spPr>
          <a:xfrm>
            <a:off x="767408" y="3193774"/>
            <a:ext cx="708586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767408" y="2703443"/>
            <a:ext cx="708586" cy="915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767408" y="2173357"/>
            <a:ext cx="708586" cy="8503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67408" y="1616765"/>
            <a:ext cx="708586" cy="926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Arrow 39"/>
          <p:cNvSpPr/>
          <p:nvPr/>
        </p:nvSpPr>
        <p:spPr>
          <a:xfrm>
            <a:off x="767408" y="1113184"/>
            <a:ext cx="708586" cy="85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/>
          <p:cNvCxnSpPr>
            <a:endCxn id="40" idx="1"/>
          </p:cNvCxnSpPr>
          <p:nvPr/>
        </p:nvCxnSpPr>
        <p:spPr>
          <a:xfrm>
            <a:off x="767408" y="801755"/>
            <a:ext cx="0" cy="35395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40" idx="1"/>
            <a:endCxn id="39" idx="1"/>
          </p:cNvCxnSpPr>
          <p:nvPr/>
        </p:nvCxnSpPr>
        <p:spPr>
          <a:xfrm>
            <a:off x="767408" y="1155714"/>
            <a:ext cx="0" cy="50738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9" idx="1"/>
            <a:endCxn id="38" idx="1"/>
          </p:cNvCxnSpPr>
          <p:nvPr/>
        </p:nvCxnSpPr>
        <p:spPr>
          <a:xfrm>
            <a:off x="767408" y="1663103"/>
            <a:ext cx="0" cy="5527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1"/>
            <a:endCxn id="37" idx="1"/>
          </p:cNvCxnSpPr>
          <p:nvPr/>
        </p:nvCxnSpPr>
        <p:spPr>
          <a:xfrm>
            <a:off x="767408" y="2215874"/>
            <a:ext cx="0" cy="53333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7" idx="1"/>
            <a:endCxn id="36" idx="1"/>
          </p:cNvCxnSpPr>
          <p:nvPr/>
        </p:nvCxnSpPr>
        <p:spPr>
          <a:xfrm>
            <a:off x="767408" y="2749208"/>
            <a:ext cx="0" cy="4880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4" name="Right Arrow 53"/>
          <p:cNvSpPr/>
          <p:nvPr/>
        </p:nvSpPr>
        <p:spPr>
          <a:xfrm>
            <a:off x="6960096" y="3737113"/>
            <a:ext cx="576064" cy="1239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Arrow 74"/>
          <p:cNvSpPr/>
          <p:nvPr/>
        </p:nvSpPr>
        <p:spPr>
          <a:xfrm>
            <a:off x="6960096" y="3193774"/>
            <a:ext cx="576064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ight Arrow 75"/>
          <p:cNvSpPr/>
          <p:nvPr/>
        </p:nvSpPr>
        <p:spPr>
          <a:xfrm>
            <a:off x="6960096" y="2703444"/>
            <a:ext cx="576064" cy="914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ight Arrow 76"/>
          <p:cNvSpPr/>
          <p:nvPr/>
        </p:nvSpPr>
        <p:spPr>
          <a:xfrm>
            <a:off x="6960096" y="2186609"/>
            <a:ext cx="576064" cy="717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ight Arrow 77"/>
          <p:cNvSpPr/>
          <p:nvPr/>
        </p:nvSpPr>
        <p:spPr>
          <a:xfrm>
            <a:off x="6960096" y="1616765"/>
            <a:ext cx="576064" cy="920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ight Arrow 78"/>
          <p:cNvSpPr/>
          <p:nvPr/>
        </p:nvSpPr>
        <p:spPr>
          <a:xfrm>
            <a:off x="6960096" y="1113184"/>
            <a:ext cx="576064" cy="8824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1" name="Straight Connector 80"/>
          <p:cNvCxnSpPr>
            <a:endCxn id="79" idx="1"/>
          </p:cNvCxnSpPr>
          <p:nvPr/>
        </p:nvCxnSpPr>
        <p:spPr>
          <a:xfrm>
            <a:off x="6960096" y="801755"/>
            <a:ext cx="0" cy="35555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79" idx="1"/>
            <a:endCxn id="78" idx="1"/>
          </p:cNvCxnSpPr>
          <p:nvPr/>
        </p:nvCxnSpPr>
        <p:spPr>
          <a:xfrm>
            <a:off x="6960096" y="1157309"/>
            <a:ext cx="0" cy="505485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78" idx="1"/>
            <a:endCxn id="77" idx="1"/>
          </p:cNvCxnSpPr>
          <p:nvPr/>
        </p:nvCxnSpPr>
        <p:spPr>
          <a:xfrm>
            <a:off x="6960096" y="1662794"/>
            <a:ext cx="0" cy="55970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77" idx="1"/>
            <a:endCxn id="76" idx="1"/>
          </p:cNvCxnSpPr>
          <p:nvPr/>
        </p:nvCxnSpPr>
        <p:spPr>
          <a:xfrm>
            <a:off x="6960096" y="2222500"/>
            <a:ext cx="0" cy="52668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76" idx="1"/>
            <a:endCxn id="75" idx="1"/>
          </p:cNvCxnSpPr>
          <p:nvPr/>
        </p:nvCxnSpPr>
        <p:spPr>
          <a:xfrm>
            <a:off x="6960096" y="2749186"/>
            <a:ext cx="0" cy="488093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5" idx="1"/>
          </p:cNvCxnSpPr>
          <p:nvPr/>
        </p:nvCxnSpPr>
        <p:spPr>
          <a:xfrm>
            <a:off x="6960096" y="3237279"/>
            <a:ext cx="0" cy="62376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62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00"/>
                            </p:stCondLst>
                            <p:childTnLst>
                              <p:par>
                                <p:cTn id="9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5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00"/>
                            </p:stCondLst>
                            <p:childTnLst>
                              <p:par>
                                <p:cTn id="1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00"/>
                            </p:stCondLst>
                            <p:childTnLst>
                              <p:par>
                                <p:cTn id="13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500"/>
                            </p:stCondLst>
                            <p:childTnLst>
                              <p:par>
                                <p:cTn id="14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1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2500"/>
                            </p:stCondLst>
                            <p:childTnLst>
                              <p:par>
                                <p:cTn id="1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500"/>
                            </p:stCondLst>
                            <p:childTnLst>
                              <p:par>
                                <p:cTn id="16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7" grpId="0">
        <p:bldAsOne/>
      </p:bldGraphic>
      <p:bldGraphic spid="11" grpId="0">
        <p:bldAsOne/>
      </p:bldGraphic>
      <p:bldGraphic spid="13" grpId="0">
        <p:bldAsOne/>
      </p:bldGraphic>
      <p:bldGraphic spid="15" grpId="0">
        <p:bldAsOne/>
      </p:bldGraphic>
      <p:bldGraphic spid="17" grpId="0">
        <p:bldAsOne/>
      </p:bldGraphic>
      <p:bldP spid="18" grpId="0"/>
      <p:bldGraphic spid="20" grpId="0">
        <p:bldAsOne/>
      </p:bldGraphic>
      <p:bldGraphic spid="22" grpId="0">
        <p:bldAsOne/>
      </p:bldGraphic>
      <p:bldGraphic spid="24" grpId="0">
        <p:bldAsOne/>
      </p:bldGraphic>
      <p:bldGraphic spid="26" grpId="0">
        <p:bldAsOne/>
      </p:bldGraphic>
      <p:bldGraphic spid="28" grpId="0">
        <p:bldAsOne/>
      </p:bldGraphic>
      <p:bldGraphic spid="30" grpId="0">
        <p:bldAsOne/>
      </p:bldGraphic>
      <p:bldP spid="31" grpId="0"/>
      <p:bldP spid="36" grpId="0" animBg="1"/>
      <p:bldP spid="37" grpId="0" animBg="1"/>
      <p:bldP spid="38" grpId="0" animBg="1"/>
      <p:bldP spid="39" grpId="0" animBg="1"/>
      <p:bldP spid="40" grpId="0" animBg="1"/>
      <p:bldP spid="5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5010" y="1794994"/>
            <a:ext cx="11793979" cy="4026560"/>
          </a:xfrm>
        </p:spPr>
        <p:txBody>
          <a:bodyPr/>
          <a:lstStyle/>
          <a:p>
            <a:r>
              <a:rPr lang="en-US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DM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Null constraint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Not null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Unique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Default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Primary key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Foreign key constraint</a:t>
            </a: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94994"/>
            <a:ext cx="4536504" cy="283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206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8068" y="222535"/>
            <a:ext cx="457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alization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08547" y="1556792"/>
          <a:ext cx="4136980" cy="1920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8990"/>
                <a:gridCol w="1310858"/>
                <a:gridCol w="790658"/>
                <a:gridCol w="8964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, 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, 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89899" y="1556792"/>
          <a:ext cx="503564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10"/>
                <a:gridCol w="1258910"/>
                <a:gridCol w="1258910"/>
                <a:gridCol w="1258910"/>
              </a:tblGrid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08074" y="821776"/>
            <a:ext cx="108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1 NF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008074" y="3728453"/>
            <a:ext cx="123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 2 N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4391222"/>
            <a:ext cx="2615411" cy="19813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899" y="4391222"/>
            <a:ext cx="4267570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72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60202" y="1352361"/>
            <a:ext cx="12031797" cy="4952185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07368" y="948276"/>
          <a:ext cx="4143080" cy="27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101"/>
                <a:gridCol w="2042979"/>
              </a:tblGrid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07368" y="3893511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44661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07368" y="5348339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388"/>
                <a:gridCol w="14433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8653" y="470667"/>
            <a:ext cx="116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3 NF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104112" y="486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BCNF</a:t>
            </a:r>
            <a:endParaRPr lang="en-US" sz="2400" b="1" dirty="0"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524" y="1495333"/>
            <a:ext cx="525520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32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62" y="514661"/>
            <a:ext cx="11016604" cy="86360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Structured query language</a:t>
            </a:r>
            <a:b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	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QL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s a standard computer language for relational database management and data manipulation.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tx2">
                    <a:lumMod val="50000"/>
                  </a:schemeClr>
                </a:solidFill>
              </a:rPr>
            </a:b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071664" y="1844688"/>
            <a:ext cx="4775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SQL language statement</a:t>
            </a:r>
          </a:p>
        </p:txBody>
      </p:sp>
      <p:cxnSp>
        <p:nvCxnSpPr>
          <p:cNvPr id="6" name="Straight Arrow Connector 5"/>
          <p:cNvCxnSpPr>
            <a:stCxn id="5" idx="2"/>
          </p:cNvCxnSpPr>
          <p:nvPr/>
        </p:nvCxnSpPr>
        <p:spPr>
          <a:xfrm>
            <a:off x="5459264" y="2682888"/>
            <a:ext cx="0" cy="381000"/>
          </a:xfrm>
          <a:prstGeom prst="straightConnector1">
            <a:avLst/>
          </a:prstGeom>
          <a:ln>
            <a:solidFill>
              <a:srgbClr val="0E0D0C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55664" y="3063888"/>
            <a:ext cx="6705600" cy="0"/>
          </a:xfrm>
          <a:prstGeom prst="line">
            <a:avLst/>
          </a:prstGeom>
          <a:ln w="12700"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2936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DL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669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M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8148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C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999264" y="3625862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TCL</a:t>
            </a:r>
          </a:p>
        </p:txBody>
      </p:sp>
      <p:cxnSp>
        <p:nvCxnSpPr>
          <p:cNvPr id="13" name="Straight Connector 12"/>
          <p:cNvCxnSpPr>
            <a:endCxn id="9" idx="0"/>
          </p:cNvCxnSpPr>
          <p:nvPr/>
        </p:nvCxnSpPr>
        <p:spPr>
          <a:xfrm>
            <a:off x="20556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3162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5768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773964" y="3063887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1249214" y="4492638"/>
            <a:ext cx="1612900" cy="1619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re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lter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runcate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rop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66965" y="4502164"/>
            <a:ext cx="1612900" cy="1609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sert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Upd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ele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elect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9992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mmi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ollback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148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Gran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evoke </a:t>
            </a:r>
          </a:p>
        </p:txBody>
      </p:sp>
      <p:cxnSp>
        <p:nvCxnSpPr>
          <p:cNvPr id="21" name="Straight Connector 20"/>
          <p:cNvCxnSpPr>
            <a:stCxn id="9" idx="2"/>
            <a:endCxn id="17" idx="0"/>
          </p:cNvCxnSpPr>
          <p:nvPr/>
        </p:nvCxnSpPr>
        <p:spPr>
          <a:xfrm>
            <a:off x="2055664" y="415926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316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576864" y="417831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61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974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General RDBMS architecture</a:t>
            </a: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7988" y="1268414"/>
            <a:ext cx="11793979" cy="4026560"/>
          </a:xfrm>
        </p:spPr>
        <p:txBody>
          <a:bodyPr/>
          <a:lstStyle/>
          <a:p>
            <a:r>
              <a:rPr lang="en-US" dirty="0" smtClean="0"/>
              <a:t>Application layer</a:t>
            </a:r>
          </a:p>
          <a:p>
            <a:r>
              <a:rPr lang="en-US" dirty="0" smtClean="0"/>
              <a:t>Logical layer</a:t>
            </a:r>
          </a:p>
          <a:p>
            <a:r>
              <a:rPr lang="en-US" dirty="0" smtClean="0"/>
              <a:t>Physical layer</a:t>
            </a:r>
            <a:endParaRPr lang="en-US" dirty="0"/>
          </a:p>
        </p:txBody>
      </p:sp>
      <p:pic>
        <p:nvPicPr>
          <p:cNvPr id="15366" name="Picture 6" descr="Image result for architecture of rdms application layer,logical layer,physical la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960" y="1268414"/>
            <a:ext cx="5467350" cy="422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2062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775520" y="350100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STORAGE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23346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176" y="1442254"/>
            <a:ext cx="10399257" cy="419869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means the devices and data connected to the computer through I/O operations.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onents of Storage System Environment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st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nectivity</a:t>
            </a:r>
          </a:p>
          <a:p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	Bus, Port, Cabl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rays</a:t>
            </a:r>
          </a:p>
          <a:p>
            <a:pPr marL="0" indent="0"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	Magnetic media, Optical media, Solid State media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8048" y="2817852"/>
            <a:ext cx="5278232" cy="169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330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8000"/>
                            </p:stCondLst>
                            <p:childTnLst>
                              <p:par>
                                <p:cTn id="3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712660820"/>
              </p:ext>
            </p:extLst>
          </p:nvPr>
        </p:nvGraphicFramePr>
        <p:xfrm>
          <a:off x="2351584" y="1412776"/>
          <a:ext cx="475252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23081281"/>
              </p:ext>
            </p:extLst>
          </p:nvPr>
        </p:nvGraphicFramePr>
        <p:xfrm>
          <a:off x="2351584" y="2276872"/>
          <a:ext cx="475252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129662051"/>
              </p:ext>
            </p:extLst>
          </p:nvPr>
        </p:nvGraphicFramePr>
        <p:xfrm>
          <a:off x="2351584" y="3212976"/>
          <a:ext cx="475252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106593181"/>
              </p:ext>
            </p:extLst>
          </p:nvPr>
        </p:nvGraphicFramePr>
        <p:xfrm>
          <a:off x="2351584" y="4149080"/>
          <a:ext cx="475252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cxnSp>
        <p:nvCxnSpPr>
          <p:cNvPr id="16" name="Straight Arrow Connector 15"/>
          <p:cNvCxnSpPr/>
          <p:nvPr/>
        </p:nvCxnSpPr>
        <p:spPr>
          <a:xfrm>
            <a:off x="1199456" y="4365104"/>
            <a:ext cx="1152128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99456" y="3356992"/>
            <a:ext cx="1152128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99456" y="2492896"/>
            <a:ext cx="1152128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99456" y="1628800"/>
            <a:ext cx="1152128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199456" y="908720"/>
            <a:ext cx="0" cy="72008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199456" y="1628800"/>
            <a:ext cx="0" cy="864096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199456" y="2492896"/>
            <a:ext cx="0" cy="864096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1199456" y="3356992"/>
            <a:ext cx="0" cy="1008112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9684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  <p:bldGraphic spid="7" grpId="0">
        <p:bldAsOne/>
      </p:bldGraphic>
      <p:bldGraphic spid="9" grpId="0">
        <p:bldAsOne/>
      </p:bldGraphic>
      <p:bldGraphic spid="11" grpId="0">
        <p:bldAsOne/>
      </p:bldGraphic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89397" y="618186"/>
            <a:ext cx="10444766" cy="19060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S :-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-attached storage (DAS) is digital storage directly attached to the computer accessing it, as opposed to storage accessed over a computer network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S:-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Network Attached Storage (NAS) device is a storage device connected to a network that allows storage and retrieval of data from a centralized locatio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320" y="2763256"/>
            <a:ext cx="4698841" cy="33799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4899" y="2763256"/>
            <a:ext cx="4709264" cy="31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412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875692"/>
            <a:ext cx="11793979" cy="4262824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CRT Monitor</a:t>
            </a:r>
          </a:p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ED</a:t>
            </a:r>
          </a:p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CD</a:t>
            </a:r>
          </a:p>
          <a:p>
            <a:pPr marL="0" indent="0">
              <a:buNone/>
            </a:pPr>
            <a:endParaRPr lang="en-US" sz="2400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4840" y="1366492"/>
            <a:ext cx="11813715" cy="5092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nitor</a:t>
            </a:r>
            <a:endParaRPr lang="en-US" sz="28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68" y="383591"/>
            <a:ext cx="5087969" cy="298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0" y="3605753"/>
            <a:ext cx="5718431" cy="304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b="1" dirty="0" smtClean="0"/>
              <a:t>OUTPUT DEVIC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5124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92428" y="777958"/>
            <a:ext cx="1106295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SAN serves to interconnect storage related resources that are connected to multiple servers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uses Fiber Channel Technology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also uses iSCSI.</a:t>
            </a: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4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nectivity Methods: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int to point (FC-P2P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A direct connection between the nod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Arbitrated Loop (FC-AL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evices are attached to a Shared loop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Switched Fabric (FC-SW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Multiple devices are connected via switching 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ies.</a:t>
            </a:r>
          </a:p>
          <a:p>
            <a:endParaRPr lang="en-US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529" y="1733254"/>
            <a:ext cx="5573706" cy="37811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5475" y="193183"/>
            <a:ext cx="52159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N</a:t>
            </a:r>
            <a:endParaRPr lang="en-US" sz="3200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41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 and RAID 1</a:t>
            </a:r>
            <a:endParaRPr lang="en-US" dirty="0"/>
          </a:p>
        </p:txBody>
      </p:sp>
      <p:pic>
        <p:nvPicPr>
          <p:cNvPr id="16386" name="Picture 2" descr="Image result for raid 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038" y="1632856"/>
            <a:ext cx="3095625" cy="40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706" y="1489165"/>
            <a:ext cx="6477000" cy="46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101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5 and RAID 6</a:t>
            </a:r>
            <a:endParaRPr lang="en-US" dirty="0"/>
          </a:p>
        </p:txBody>
      </p:sp>
      <p:sp>
        <p:nvSpPr>
          <p:cNvPr id="5" name="AutoShape 2" descr="Image result for raid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4" descr="Image result for raid 5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29" y="1819273"/>
            <a:ext cx="4490357" cy="364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9" name="Picture 7" descr="Image result for raid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726" y="1819272"/>
            <a:ext cx="5454740" cy="364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85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1 and RAID 10</a:t>
            </a:r>
            <a:endParaRPr lang="en-US" dirty="0"/>
          </a:p>
        </p:txBody>
      </p:sp>
      <p:sp>
        <p:nvSpPr>
          <p:cNvPr id="5" name="AutoShape 2" descr="Image result for raid 0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4" y="2016443"/>
            <a:ext cx="4624251" cy="319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1" name="Picture 5" descr="Image result for raid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970" y="2016442"/>
            <a:ext cx="5938067" cy="319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399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3215680" y="2731567"/>
            <a:ext cx="4392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hank You</a:t>
            </a:r>
            <a:endParaRPr lang="en-US" sz="4400" b="1" dirty="0">
              <a:solidFill>
                <a:schemeClr val="accent1">
                  <a:lumMod val="75000"/>
                </a:schemeClr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8" y="2701412"/>
            <a:ext cx="4631499" cy="347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4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PRINTERS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05" y="1490633"/>
            <a:ext cx="9946451" cy="402656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ypes of printers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1.Laser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2.Ink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3.Dot-Matrix</a:t>
            </a: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mponents of laser je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onner hopp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Laser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Drum assembly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Fus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Paper tray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950" y="1373125"/>
            <a:ext cx="4582258" cy="414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NANDIN\Downloads\laser-printer3-500x5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809" y="515934"/>
            <a:ext cx="2838510" cy="219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NANDIN\Downloads\electronic-ultrasonic-pest-repeller-250x2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259" y="2486437"/>
            <a:ext cx="2628183" cy="2076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NANDIN\Downloads\cartridge-part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747" y="4563004"/>
            <a:ext cx="2669861" cy="2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91964" y="292494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Laser Jet Printer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67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3" y="692696"/>
            <a:ext cx="6169967" cy="796136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Century Gothic" panose="020B0502020202020204" pitchFamily="34" charset="0"/>
              </a:rPr>
              <a:t>DOT MATRIX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3074" name="Picture 2" descr="C:\Users\NANDIN\Downloads\71SKjyePBzL._SL1500_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5" y="1340768"/>
            <a:ext cx="4032448" cy="237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NANDIN\Downloads\maxresdef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635" y="1412776"/>
            <a:ext cx="4003781" cy="229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58081" y="4437112"/>
            <a:ext cx="6169967" cy="7961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Century Gothic" panose="020B0502020202020204" pitchFamily="34" charset="0"/>
              </a:rPr>
              <a:t>INK JET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8" name="Picture 6" descr="C:\Users\NANDIN\Downloads\u_1014374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557" y="4052328"/>
            <a:ext cx="2664403" cy="268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NANDIN\Downloads\recycle-inkjet-cartridges-300x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385" y="3848725"/>
            <a:ext cx="2743573" cy="2743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NANDIN\Downloads\HTB10Ts0QpXXXXbuXXXXq6xXFXXX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006" y="4246074"/>
            <a:ext cx="2608971" cy="251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875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PS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1241" y="479247"/>
            <a:ext cx="2811073" cy="2811073"/>
          </a:xfrm>
          <a:prstGeom prst="rect">
            <a:avLst/>
          </a:prstGeom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79376" y="328498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nectors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2901" y="2420888"/>
            <a:ext cx="4267200" cy="3200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800" y="3645024"/>
            <a:ext cx="2935213" cy="29352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5" y="3933056"/>
            <a:ext cx="3247102" cy="2521916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7968828" y="184531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rts To Be Connected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0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ésentation1" id="{F4EDDD86-B8A8-46E1-81BA-C40220CF151C}" vid="{B065CD12-128C-4DBC-873E-82FC4B88A76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3343</TotalTime>
  <Words>1171</Words>
  <Application>Microsoft Office PowerPoint</Application>
  <PresentationFormat>Custom</PresentationFormat>
  <Paragraphs>420</Paragraphs>
  <Slides>6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69" baseType="lpstr">
      <vt:lpstr>Capgemini_Template</vt:lpstr>
      <vt:lpstr>Section slides</vt:lpstr>
      <vt:lpstr>Content Layouts</vt:lpstr>
      <vt:lpstr>Content and Image Layouts</vt:lpstr>
      <vt:lpstr>think-cell Slide</vt:lpstr>
      <vt:lpstr>PowerPoint Presentation</vt:lpstr>
      <vt:lpstr>AGENDA</vt:lpstr>
      <vt:lpstr>PowerPoint Presentation</vt:lpstr>
      <vt:lpstr>INPUT DEVICES</vt:lpstr>
      <vt:lpstr>Working principle of scanner</vt:lpstr>
      <vt:lpstr>OUTPUT DEVICES</vt:lpstr>
      <vt:lpstr>PRINTERS</vt:lpstr>
      <vt:lpstr>DOT MATRIX PRINTER</vt:lpstr>
      <vt:lpstr> SMPS</vt:lpstr>
      <vt:lpstr>Motherboard</vt:lpstr>
      <vt:lpstr>HARD DISK</vt:lpstr>
      <vt:lpstr>PowerPoint Presentation</vt:lpstr>
      <vt:lpstr>                                               Operating system </vt:lpstr>
      <vt:lpstr>PowerPoint Presentation</vt:lpstr>
      <vt:lpstr>PowerPoint Presentation</vt:lpstr>
      <vt:lpstr>PowerPoint Presentation</vt:lpstr>
      <vt:lpstr>Management Mechanisms </vt:lpstr>
      <vt:lpstr>PowerPoint Presentation</vt:lpstr>
      <vt:lpstr>                                        Process Management    </vt:lpstr>
      <vt:lpstr>PowerPoint Presentation</vt:lpstr>
      <vt:lpstr>PowerPoint Presentation</vt:lpstr>
      <vt:lpstr>Introduction:</vt:lpstr>
      <vt:lpstr>Linux Subsystem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TYPES OF NETWORKS</vt:lpstr>
      <vt:lpstr>PowerPoint Presentation</vt:lpstr>
      <vt:lpstr>           TCP/IP LAYERS AND OSI LAYERS</vt:lpstr>
      <vt:lpstr>                           IP ADDRESS CLAS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uctured query language  SQL is a standard computer language for relational database management and data manipulation. </vt:lpstr>
      <vt:lpstr>General RDBMS architecture</vt:lpstr>
      <vt:lpstr>PowerPoint Presentation</vt:lpstr>
      <vt:lpstr>STORAGE</vt:lpstr>
      <vt:lpstr>Types of Storage</vt:lpstr>
      <vt:lpstr>PowerPoint Presentation</vt:lpstr>
      <vt:lpstr>PowerPoint Presentation</vt:lpstr>
      <vt:lpstr>RAID 0 and RAID 1</vt:lpstr>
      <vt:lpstr>RAID 5 and RAID 6</vt:lpstr>
      <vt:lpstr>RAID 01 and RAID 10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 title</dc:title>
  <dc:creator>Tomasz Cwiklinski</dc:creator>
  <cp:lastModifiedBy>SAI</cp:lastModifiedBy>
  <cp:revision>239</cp:revision>
  <dcterms:created xsi:type="dcterms:W3CDTF">2017-10-18T07:07:16Z</dcterms:created>
  <dcterms:modified xsi:type="dcterms:W3CDTF">2018-04-08T11:10:23Z</dcterms:modified>
</cp:coreProperties>
</file>